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1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4.xml" ContentType="application/vnd.openxmlformats-officedocument.presentationml.notesSlide+xml"/>
  <Override PartName="/ppt/tags/tag94.xml" ContentType="application/vnd.openxmlformats-officedocument.presentationml.tags+xml"/>
  <Override PartName="/ppt/notesSlides/notesSlide5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6.xml" ContentType="application/vnd.openxmlformats-officedocument.presentationml.notesSlide+xml"/>
  <Override PartName="/ppt/tags/tag128.xml" ContentType="application/vnd.openxmlformats-officedocument.presentationml.tags+xml"/>
  <Override PartName="/ppt/notesSlides/notesSlide7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8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9.xml" ContentType="application/vnd.openxmlformats-officedocument.presentationml.notesSlide+xml"/>
  <Override PartName="/ppt/tags/tag163.xml" ContentType="application/vnd.openxmlformats-officedocument.presentationml.tags+xml"/>
  <Override PartName="/ppt/notesSlides/notesSlide10.xml" ContentType="application/vnd.openxmlformats-officedocument.presentationml.notesSl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notesSlides/notesSlide11.xml" ContentType="application/vnd.openxmlformats-officedocument.presentationml.notesSlid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notesSlides/notesSlide12.xml" ContentType="application/vnd.openxmlformats-officedocument.presentationml.notesSlide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notesSlides/notesSlide13.xml" ContentType="application/vnd.openxmlformats-officedocument.presentationml.notesSl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notesSlides/notesSlide14.xml" ContentType="application/vnd.openxmlformats-officedocument.presentationml.notesSlide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notesSlides/notesSlide15.xml" ContentType="application/vnd.openxmlformats-officedocument.presentationml.notesSlide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26"/>
  </p:notesMasterIdLst>
  <p:handoutMasterIdLst>
    <p:handoutMasterId r:id="rId27"/>
  </p:handoutMasterIdLst>
  <p:sldIdLst>
    <p:sldId id="347" r:id="rId2"/>
    <p:sldId id="299" r:id="rId3"/>
    <p:sldId id="300" r:id="rId4"/>
    <p:sldId id="303" r:id="rId5"/>
    <p:sldId id="304" r:id="rId6"/>
    <p:sldId id="392" r:id="rId7"/>
    <p:sldId id="395" r:id="rId8"/>
    <p:sldId id="422" r:id="rId9"/>
    <p:sldId id="384" r:id="rId10"/>
    <p:sldId id="378" r:id="rId11"/>
    <p:sldId id="467" r:id="rId12"/>
    <p:sldId id="400" r:id="rId13"/>
    <p:sldId id="468" r:id="rId14"/>
    <p:sldId id="429" r:id="rId15"/>
    <p:sldId id="403" r:id="rId16"/>
    <p:sldId id="405" r:id="rId17"/>
    <p:sldId id="454" r:id="rId18"/>
    <p:sldId id="325" r:id="rId19"/>
    <p:sldId id="379" r:id="rId20"/>
    <p:sldId id="441" r:id="rId21"/>
    <p:sldId id="322" r:id="rId22"/>
    <p:sldId id="407" r:id="rId23"/>
    <p:sldId id="433" r:id="rId24"/>
    <p:sldId id="423" r:id="rId25"/>
  </p:sldIdLst>
  <p:sldSz cx="9144000" cy="6858000" type="screen4x3"/>
  <p:notesSz cx="6662738" cy="9906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78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42" autoAdjust="0"/>
    <p:restoredTop sz="98951" autoAdjust="0"/>
  </p:normalViewPr>
  <p:slideViewPr>
    <p:cSldViewPr showGuides="1">
      <p:cViewPr varScale="1">
        <p:scale>
          <a:sx n="86" d="100"/>
          <a:sy n="86" d="100"/>
        </p:scale>
        <p:origin x="-1686" y="-84"/>
      </p:cViewPr>
      <p:guideLst>
        <p:guide orient="horz" pos="1298"/>
        <p:guide orient="horz" pos="1026"/>
        <p:guide orient="horz" pos="3997"/>
        <p:guide orient="horz" pos="3566"/>
        <p:guide orient="horz" pos="4247"/>
        <p:guide orient="horz" pos="1548"/>
        <p:guide pos="2880"/>
        <p:guide pos="3107"/>
        <p:guide/>
        <p:guide pos="5759"/>
        <p:guide pos="5602"/>
        <p:guide pos="2653"/>
        <p:guide pos="15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-4026" y="-114"/>
      </p:cViewPr>
      <p:guideLst>
        <p:guide orient="horz" pos="3121"/>
        <p:guide pos="2099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jgraff01\AppData\Local\Microsoft\Windows\Temporary%20Internet%20Files\Content.Outlook\Z80OB9QY\Best%20Innovator%20Kursentwicklung%20D%202003-28_Oct_2012%20DP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210046046531634E-2"/>
          <c:y val="3.5490605427974949E-2"/>
          <c:w val="0.91095890939883184"/>
          <c:h val="0.76200417536534448"/>
        </c:manualLayout>
      </c:layout>
      <c:lineChart>
        <c:grouping val="standard"/>
        <c:varyColors val="0"/>
        <c:ser>
          <c:idx val="0"/>
          <c:order val="0"/>
          <c:tx>
            <c:strRef>
              <c:f>'Data for Graph'!$B$3</c:f>
              <c:strCache>
                <c:ptCount val="1"/>
                <c:pt idx="0">
                  <c:v>Dax 30</c:v>
                </c:pt>
              </c:strCache>
            </c:strRef>
          </c:tx>
          <c:spPr>
            <a:ln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'Data for Graph'!$A$4:$A$1099</c:f>
              <c:numCache>
                <c:formatCode>m\/d\/yyyy</c:formatCode>
                <c:ptCount val="1096"/>
                <c:pt idx="0">
                  <c:v>37629</c:v>
                </c:pt>
                <c:pt idx="1">
                  <c:v>37636</c:v>
                </c:pt>
                <c:pt idx="2">
                  <c:v>37643</c:v>
                </c:pt>
                <c:pt idx="3">
                  <c:v>37650</c:v>
                </c:pt>
                <c:pt idx="4">
                  <c:v>37657</c:v>
                </c:pt>
                <c:pt idx="5">
                  <c:v>37664</c:v>
                </c:pt>
                <c:pt idx="6">
                  <c:v>37671</c:v>
                </c:pt>
                <c:pt idx="7">
                  <c:v>37678</c:v>
                </c:pt>
                <c:pt idx="8">
                  <c:v>37685</c:v>
                </c:pt>
                <c:pt idx="9">
                  <c:v>37692</c:v>
                </c:pt>
                <c:pt idx="10">
                  <c:v>37699</c:v>
                </c:pt>
                <c:pt idx="11">
                  <c:v>37706</c:v>
                </c:pt>
                <c:pt idx="12">
                  <c:v>37713</c:v>
                </c:pt>
                <c:pt idx="13">
                  <c:v>37720</c:v>
                </c:pt>
                <c:pt idx="14">
                  <c:v>37727</c:v>
                </c:pt>
                <c:pt idx="15">
                  <c:v>37734</c:v>
                </c:pt>
                <c:pt idx="16">
                  <c:v>37741</c:v>
                </c:pt>
                <c:pt idx="17">
                  <c:v>37748</c:v>
                </c:pt>
                <c:pt idx="18">
                  <c:v>37755</c:v>
                </c:pt>
                <c:pt idx="19">
                  <c:v>37762</c:v>
                </c:pt>
                <c:pt idx="20">
                  <c:v>37769</c:v>
                </c:pt>
                <c:pt idx="21">
                  <c:v>37776</c:v>
                </c:pt>
                <c:pt idx="22">
                  <c:v>37783</c:v>
                </c:pt>
                <c:pt idx="23">
                  <c:v>37790</c:v>
                </c:pt>
                <c:pt idx="24">
                  <c:v>37797</c:v>
                </c:pt>
                <c:pt idx="25">
                  <c:v>37804</c:v>
                </c:pt>
                <c:pt idx="26">
                  <c:v>37811</c:v>
                </c:pt>
                <c:pt idx="27">
                  <c:v>37818</c:v>
                </c:pt>
                <c:pt idx="28">
                  <c:v>37825</c:v>
                </c:pt>
                <c:pt idx="29">
                  <c:v>37832</c:v>
                </c:pt>
                <c:pt idx="30">
                  <c:v>37839</c:v>
                </c:pt>
                <c:pt idx="31">
                  <c:v>37846</c:v>
                </c:pt>
                <c:pt idx="32">
                  <c:v>37853</c:v>
                </c:pt>
                <c:pt idx="33">
                  <c:v>37860</c:v>
                </c:pt>
                <c:pt idx="34">
                  <c:v>37867</c:v>
                </c:pt>
                <c:pt idx="35">
                  <c:v>37874</c:v>
                </c:pt>
                <c:pt idx="36">
                  <c:v>37881</c:v>
                </c:pt>
                <c:pt idx="37">
                  <c:v>37888</c:v>
                </c:pt>
                <c:pt idx="38">
                  <c:v>37895</c:v>
                </c:pt>
                <c:pt idx="39">
                  <c:v>37902</c:v>
                </c:pt>
                <c:pt idx="40">
                  <c:v>37909</c:v>
                </c:pt>
                <c:pt idx="41">
                  <c:v>37916</c:v>
                </c:pt>
                <c:pt idx="42">
                  <c:v>37923</c:v>
                </c:pt>
                <c:pt idx="43">
                  <c:v>37930</c:v>
                </c:pt>
                <c:pt idx="44">
                  <c:v>37937</c:v>
                </c:pt>
                <c:pt idx="45">
                  <c:v>37944</c:v>
                </c:pt>
                <c:pt idx="46">
                  <c:v>37951</c:v>
                </c:pt>
                <c:pt idx="47">
                  <c:v>37958</c:v>
                </c:pt>
                <c:pt idx="48">
                  <c:v>37965</c:v>
                </c:pt>
                <c:pt idx="49">
                  <c:v>37972</c:v>
                </c:pt>
                <c:pt idx="50">
                  <c:v>37979</c:v>
                </c:pt>
                <c:pt idx="51">
                  <c:v>37986</c:v>
                </c:pt>
                <c:pt idx="52">
                  <c:v>37993</c:v>
                </c:pt>
                <c:pt idx="53">
                  <c:v>38000</c:v>
                </c:pt>
                <c:pt idx="54">
                  <c:v>38007</c:v>
                </c:pt>
                <c:pt idx="55">
                  <c:v>38014</c:v>
                </c:pt>
                <c:pt idx="56">
                  <c:v>38021</c:v>
                </c:pt>
                <c:pt idx="57">
                  <c:v>38028</c:v>
                </c:pt>
                <c:pt idx="58">
                  <c:v>38035</c:v>
                </c:pt>
                <c:pt idx="59">
                  <c:v>38042</c:v>
                </c:pt>
                <c:pt idx="60">
                  <c:v>38049</c:v>
                </c:pt>
                <c:pt idx="61">
                  <c:v>38056</c:v>
                </c:pt>
                <c:pt idx="62">
                  <c:v>38063</c:v>
                </c:pt>
                <c:pt idx="63">
                  <c:v>38070</c:v>
                </c:pt>
                <c:pt idx="64">
                  <c:v>38077</c:v>
                </c:pt>
                <c:pt idx="65">
                  <c:v>38084</c:v>
                </c:pt>
                <c:pt idx="66">
                  <c:v>38091</c:v>
                </c:pt>
                <c:pt idx="67">
                  <c:v>38098</c:v>
                </c:pt>
                <c:pt idx="68">
                  <c:v>38105</c:v>
                </c:pt>
                <c:pt idx="69">
                  <c:v>38112</c:v>
                </c:pt>
                <c:pt idx="70">
                  <c:v>38119</c:v>
                </c:pt>
                <c:pt idx="71">
                  <c:v>38126</c:v>
                </c:pt>
                <c:pt idx="72">
                  <c:v>38133</c:v>
                </c:pt>
                <c:pt idx="73">
                  <c:v>38140</c:v>
                </c:pt>
                <c:pt idx="74">
                  <c:v>38147</c:v>
                </c:pt>
                <c:pt idx="75">
                  <c:v>38154</c:v>
                </c:pt>
                <c:pt idx="76">
                  <c:v>38161</c:v>
                </c:pt>
                <c:pt idx="77">
                  <c:v>38168</c:v>
                </c:pt>
                <c:pt idx="78">
                  <c:v>38175</c:v>
                </c:pt>
                <c:pt idx="79">
                  <c:v>38182</c:v>
                </c:pt>
                <c:pt idx="80">
                  <c:v>38189</c:v>
                </c:pt>
                <c:pt idx="81">
                  <c:v>38196</c:v>
                </c:pt>
                <c:pt idx="82">
                  <c:v>38203</c:v>
                </c:pt>
                <c:pt idx="83">
                  <c:v>38210</c:v>
                </c:pt>
                <c:pt idx="84">
                  <c:v>38217</c:v>
                </c:pt>
                <c:pt idx="85">
                  <c:v>38224</c:v>
                </c:pt>
                <c:pt idx="86">
                  <c:v>38231</c:v>
                </c:pt>
                <c:pt idx="87">
                  <c:v>38238</c:v>
                </c:pt>
                <c:pt idx="88">
                  <c:v>38245</c:v>
                </c:pt>
                <c:pt idx="89">
                  <c:v>38252</c:v>
                </c:pt>
                <c:pt idx="90">
                  <c:v>38259</c:v>
                </c:pt>
                <c:pt idx="91">
                  <c:v>38266</c:v>
                </c:pt>
                <c:pt idx="92">
                  <c:v>38273</c:v>
                </c:pt>
                <c:pt idx="93">
                  <c:v>38280</c:v>
                </c:pt>
                <c:pt idx="94">
                  <c:v>38287</c:v>
                </c:pt>
                <c:pt idx="95">
                  <c:v>38294</c:v>
                </c:pt>
                <c:pt idx="96">
                  <c:v>38301</c:v>
                </c:pt>
                <c:pt idx="97">
                  <c:v>38308</c:v>
                </c:pt>
                <c:pt idx="98">
                  <c:v>38315</c:v>
                </c:pt>
                <c:pt idx="99">
                  <c:v>38322</c:v>
                </c:pt>
                <c:pt idx="100">
                  <c:v>38329</c:v>
                </c:pt>
                <c:pt idx="101">
                  <c:v>38336</c:v>
                </c:pt>
                <c:pt idx="102">
                  <c:v>38343</c:v>
                </c:pt>
                <c:pt idx="103">
                  <c:v>38350</c:v>
                </c:pt>
                <c:pt idx="104">
                  <c:v>38357</c:v>
                </c:pt>
                <c:pt idx="105">
                  <c:v>38364</c:v>
                </c:pt>
                <c:pt idx="106">
                  <c:v>38371</c:v>
                </c:pt>
                <c:pt idx="107">
                  <c:v>38378</c:v>
                </c:pt>
                <c:pt idx="108">
                  <c:v>38385</c:v>
                </c:pt>
                <c:pt idx="109">
                  <c:v>38392</c:v>
                </c:pt>
                <c:pt idx="110">
                  <c:v>38399</c:v>
                </c:pt>
                <c:pt idx="111">
                  <c:v>38406</c:v>
                </c:pt>
                <c:pt idx="112">
                  <c:v>38413</c:v>
                </c:pt>
                <c:pt idx="113">
                  <c:v>38420</c:v>
                </c:pt>
                <c:pt idx="114">
                  <c:v>38427</c:v>
                </c:pt>
                <c:pt idx="115">
                  <c:v>38434</c:v>
                </c:pt>
                <c:pt idx="116">
                  <c:v>38441</c:v>
                </c:pt>
                <c:pt idx="117">
                  <c:v>38448</c:v>
                </c:pt>
                <c:pt idx="118">
                  <c:v>38455</c:v>
                </c:pt>
                <c:pt idx="119">
                  <c:v>38462</c:v>
                </c:pt>
                <c:pt idx="120">
                  <c:v>38469</c:v>
                </c:pt>
                <c:pt idx="121">
                  <c:v>38476</c:v>
                </c:pt>
                <c:pt idx="122">
                  <c:v>38483</c:v>
                </c:pt>
                <c:pt idx="123">
                  <c:v>38490</c:v>
                </c:pt>
                <c:pt idx="124">
                  <c:v>38497</c:v>
                </c:pt>
                <c:pt idx="125">
                  <c:v>38504</c:v>
                </c:pt>
                <c:pt idx="126">
                  <c:v>38511</c:v>
                </c:pt>
                <c:pt idx="127">
                  <c:v>38518</c:v>
                </c:pt>
                <c:pt idx="128">
                  <c:v>38525</c:v>
                </c:pt>
                <c:pt idx="129">
                  <c:v>38532</c:v>
                </c:pt>
                <c:pt idx="130">
                  <c:v>38539</c:v>
                </c:pt>
                <c:pt idx="131">
                  <c:v>38546</c:v>
                </c:pt>
                <c:pt idx="132">
                  <c:v>38553</c:v>
                </c:pt>
                <c:pt idx="133">
                  <c:v>38560</c:v>
                </c:pt>
                <c:pt idx="134">
                  <c:v>38567</c:v>
                </c:pt>
                <c:pt idx="135">
                  <c:v>38574</c:v>
                </c:pt>
                <c:pt idx="136">
                  <c:v>38581</c:v>
                </c:pt>
                <c:pt idx="137">
                  <c:v>38588</c:v>
                </c:pt>
                <c:pt idx="138">
                  <c:v>38595</c:v>
                </c:pt>
                <c:pt idx="139">
                  <c:v>38602</c:v>
                </c:pt>
                <c:pt idx="140">
                  <c:v>38609</c:v>
                </c:pt>
                <c:pt idx="141">
                  <c:v>38616</c:v>
                </c:pt>
                <c:pt idx="142">
                  <c:v>38623</c:v>
                </c:pt>
                <c:pt idx="143">
                  <c:v>38630</c:v>
                </c:pt>
                <c:pt idx="144">
                  <c:v>38637</c:v>
                </c:pt>
                <c:pt idx="145">
                  <c:v>38644</c:v>
                </c:pt>
                <c:pt idx="146">
                  <c:v>38651</c:v>
                </c:pt>
                <c:pt idx="147">
                  <c:v>38658</c:v>
                </c:pt>
                <c:pt idx="148">
                  <c:v>38665</c:v>
                </c:pt>
                <c:pt idx="149">
                  <c:v>38672</c:v>
                </c:pt>
                <c:pt idx="150">
                  <c:v>38679</c:v>
                </c:pt>
                <c:pt idx="151">
                  <c:v>38686</c:v>
                </c:pt>
                <c:pt idx="152">
                  <c:v>38693</c:v>
                </c:pt>
                <c:pt idx="153">
                  <c:v>38700</c:v>
                </c:pt>
                <c:pt idx="154">
                  <c:v>38707</c:v>
                </c:pt>
                <c:pt idx="155">
                  <c:v>38714</c:v>
                </c:pt>
                <c:pt idx="156">
                  <c:v>38721</c:v>
                </c:pt>
                <c:pt idx="157">
                  <c:v>38728</c:v>
                </c:pt>
                <c:pt idx="158">
                  <c:v>38735</c:v>
                </c:pt>
                <c:pt idx="159">
                  <c:v>38742</c:v>
                </c:pt>
                <c:pt idx="160">
                  <c:v>38749</c:v>
                </c:pt>
                <c:pt idx="161">
                  <c:v>38756</c:v>
                </c:pt>
                <c:pt idx="162">
                  <c:v>38763</c:v>
                </c:pt>
                <c:pt idx="163">
                  <c:v>38770</c:v>
                </c:pt>
                <c:pt idx="164">
                  <c:v>38777</c:v>
                </c:pt>
                <c:pt idx="165">
                  <c:v>38784</c:v>
                </c:pt>
                <c:pt idx="166">
                  <c:v>38791</c:v>
                </c:pt>
                <c:pt idx="167">
                  <c:v>38798</c:v>
                </c:pt>
                <c:pt idx="168">
                  <c:v>38805</c:v>
                </c:pt>
                <c:pt idx="169">
                  <c:v>38812</c:v>
                </c:pt>
                <c:pt idx="170">
                  <c:v>38819</c:v>
                </c:pt>
                <c:pt idx="171">
                  <c:v>38826</c:v>
                </c:pt>
                <c:pt idx="172">
                  <c:v>38833</c:v>
                </c:pt>
                <c:pt idx="173">
                  <c:v>38840</c:v>
                </c:pt>
                <c:pt idx="174">
                  <c:v>38847</c:v>
                </c:pt>
                <c:pt idx="175">
                  <c:v>38854</c:v>
                </c:pt>
                <c:pt idx="176">
                  <c:v>38861</c:v>
                </c:pt>
                <c:pt idx="177">
                  <c:v>38868</c:v>
                </c:pt>
                <c:pt idx="178">
                  <c:v>38875</c:v>
                </c:pt>
                <c:pt idx="179">
                  <c:v>38882</c:v>
                </c:pt>
                <c:pt idx="180">
                  <c:v>38889</c:v>
                </c:pt>
                <c:pt idx="181">
                  <c:v>38896</c:v>
                </c:pt>
                <c:pt idx="182">
                  <c:v>38903</c:v>
                </c:pt>
                <c:pt idx="183">
                  <c:v>38910</c:v>
                </c:pt>
                <c:pt idx="184">
                  <c:v>38917</c:v>
                </c:pt>
                <c:pt idx="185">
                  <c:v>38924</c:v>
                </c:pt>
                <c:pt idx="186">
                  <c:v>38931</c:v>
                </c:pt>
                <c:pt idx="187">
                  <c:v>38938</c:v>
                </c:pt>
                <c:pt idx="188">
                  <c:v>38945</c:v>
                </c:pt>
                <c:pt idx="189">
                  <c:v>38952</c:v>
                </c:pt>
                <c:pt idx="190">
                  <c:v>38959</c:v>
                </c:pt>
                <c:pt idx="191">
                  <c:v>38966</c:v>
                </c:pt>
                <c:pt idx="192">
                  <c:v>38973</c:v>
                </c:pt>
                <c:pt idx="193">
                  <c:v>38980</c:v>
                </c:pt>
                <c:pt idx="194">
                  <c:v>38987</c:v>
                </c:pt>
                <c:pt idx="195">
                  <c:v>38994</c:v>
                </c:pt>
                <c:pt idx="196">
                  <c:v>39001</c:v>
                </c:pt>
                <c:pt idx="197">
                  <c:v>39008</c:v>
                </c:pt>
                <c:pt idx="198">
                  <c:v>39015</c:v>
                </c:pt>
                <c:pt idx="199">
                  <c:v>39022</c:v>
                </c:pt>
                <c:pt idx="200">
                  <c:v>39029</c:v>
                </c:pt>
                <c:pt idx="201">
                  <c:v>39036</c:v>
                </c:pt>
                <c:pt idx="202">
                  <c:v>39043</c:v>
                </c:pt>
                <c:pt idx="203">
                  <c:v>39050</c:v>
                </c:pt>
                <c:pt idx="204">
                  <c:v>39057</c:v>
                </c:pt>
                <c:pt idx="205">
                  <c:v>39064</c:v>
                </c:pt>
                <c:pt idx="206">
                  <c:v>39071</c:v>
                </c:pt>
                <c:pt idx="207">
                  <c:v>39078</c:v>
                </c:pt>
                <c:pt idx="208">
                  <c:v>39085</c:v>
                </c:pt>
                <c:pt idx="209">
                  <c:v>39092</c:v>
                </c:pt>
                <c:pt idx="210">
                  <c:v>39099</c:v>
                </c:pt>
                <c:pt idx="211">
                  <c:v>39106</c:v>
                </c:pt>
                <c:pt idx="212">
                  <c:v>39113</c:v>
                </c:pt>
                <c:pt idx="213">
                  <c:v>39120</c:v>
                </c:pt>
                <c:pt idx="214">
                  <c:v>39127</c:v>
                </c:pt>
                <c:pt idx="215">
                  <c:v>39134</c:v>
                </c:pt>
                <c:pt idx="216">
                  <c:v>39141</c:v>
                </c:pt>
                <c:pt idx="217">
                  <c:v>39148</c:v>
                </c:pt>
                <c:pt idx="218">
                  <c:v>39155</c:v>
                </c:pt>
                <c:pt idx="219">
                  <c:v>39162</c:v>
                </c:pt>
                <c:pt idx="220">
                  <c:v>39169</c:v>
                </c:pt>
                <c:pt idx="221">
                  <c:v>39176</c:v>
                </c:pt>
                <c:pt idx="222">
                  <c:v>39183</c:v>
                </c:pt>
                <c:pt idx="223">
                  <c:v>39190</c:v>
                </c:pt>
                <c:pt idx="224">
                  <c:v>39197</c:v>
                </c:pt>
                <c:pt idx="225">
                  <c:v>39204</c:v>
                </c:pt>
                <c:pt idx="226">
                  <c:v>39211</c:v>
                </c:pt>
                <c:pt idx="227">
                  <c:v>39218</c:v>
                </c:pt>
                <c:pt idx="228">
                  <c:v>39225</c:v>
                </c:pt>
                <c:pt idx="229">
                  <c:v>39232</c:v>
                </c:pt>
                <c:pt idx="230">
                  <c:v>39239</c:v>
                </c:pt>
                <c:pt idx="231">
                  <c:v>39246</c:v>
                </c:pt>
                <c:pt idx="232">
                  <c:v>39253</c:v>
                </c:pt>
                <c:pt idx="233">
                  <c:v>39260</c:v>
                </c:pt>
                <c:pt idx="234">
                  <c:v>39267</c:v>
                </c:pt>
                <c:pt idx="235">
                  <c:v>39274</c:v>
                </c:pt>
                <c:pt idx="236">
                  <c:v>39281</c:v>
                </c:pt>
                <c:pt idx="237">
                  <c:v>39288</c:v>
                </c:pt>
                <c:pt idx="238">
                  <c:v>39295</c:v>
                </c:pt>
                <c:pt idx="239">
                  <c:v>39302</c:v>
                </c:pt>
                <c:pt idx="240">
                  <c:v>39309</c:v>
                </c:pt>
                <c:pt idx="241">
                  <c:v>39316</c:v>
                </c:pt>
                <c:pt idx="242">
                  <c:v>39323</c:v>
                </c:pt>
                <c:pt idx="243">
                  <c:v>39330</c:v>
                </c:pt>
                <c:pt idx="244">
                  <c:v>39337</c:v>
                </c:pt>
                <c:pt idx="245">
                  <c:v>39344</c:v>
                </c:pt>
                <c:pt idx="246">
                  <c:v>39351</c:v>
                </c:pt>
                <c:pt idx="247">
                  <c:v>39358</c:v>
                </c:pt>
                <c:pt idx="248">
                  <c:v>39365</c:v>
                </c:pt>
                <c:pt idx="249">
                  <c:v>39372</c:v>
                </c:pt>
                <c:pt idx="250">
                  <c:v>39379</c:v>
                </c:pt>
                <c:pt idx="251">
                  <c:v>39386</c:v>
                </c:pt>
                <c:pt idx="252">
                  <c:v>39393</c:v>
                </c:pt>
                <c:pt idx="253">
                  <c:v>39400</c:v>
                </c:pt>
                <c:pt idx="254">
                  <c:v>39407</c:v>
                </c:pt>
                <c:pt idx="255">
                  <c:v>39414</c:v>
                </c:pt>
                <c:pt idx="256">
                  <c:v>39421</c:v>
                </c:pt>
                <c:pt idx="257">
                  <c:v>39428</c:v>
                </c:pt>
                <c:pt idx="258">
                  <c:v>39435</c:v>
                </c:pt>
                <c:pt idx="259">
                  <c:v>39442</c:v>
                </c:pt>
                <c:pt idx="260">
                  <c:v>39449</c:v>
                </c:pt>
                <c:pt idx="261">
                  <c:v>39456</c:v>
                </c:pt>
                <c:pt idx="262">
                  <c:v>39463</c:v>
                </c:pt>
                <c:pt idx="263">
                  <c:v>39470</c:v>
                </c:pt>
                <c:pt idx="264">
                  <c:v>39477</c:v>
                </c:pt>
                <c:pt idx="265">
                  <c:v>39484</c:v>
                </c:pt>
                <c:pt idx="266">
                  <c:v>39491</c:v>
                </c:pt>
                <c:pt idx="267">
                  <c:v>39498</c:v>
                </c:pt>
                <c:pt idx="268">
                  <c:v>39505</c:v>
                </c:pt>
                <c:pt idx="269">
                  <c:v>39512</c:v>
                </c:pt>
                <c:pt idx="270">
                  <c:v>39519</c:v>
                </c:pt>
                <c:pt idx="271">
                  <c:v>39526</c:v>
                </c:pt>
                <c:pt idx="272">
                  <c:v>39533</c:v>
                </c:pt>
                <c:pt idx="273">
                  <c:v>39540</c:v>
                </c:pt>
                <c:pt idx="274">
                  <c:v>39547</c:v>
                </c:pt>
                <c:pt idx="275">
                  <c:v>39554</c:v>
                </c:pt>
                <c:pt idx="276">
                  <c:v>39561</c:v>
                </c:pt>
                <c:pt idx="277">
                  <c:v>39568</c:v>
                </c:pt>
                <c:pt idx="278">
                  <c:v>39575</c:v>
                </c:pt>
                <c:pt idx="279">
                  <c:v>39582</c:v>
                </c:pt>
                <c:pt idx="280">
                  <c:v>39589</c:v>
                </c:pt>
                <c:pt idx="281">
                  <c:v>39596</c:v>
                </c:pt>
                <c:pt idx="282">
                  <c:v>39603</c:v>
                </c:pt>
                <c:pt idx="283">
                  <c:v>39610</c:v>
                </c:pt>
                <c:pt idx="284">
                  <c:v>39617</c:v>
                </c:pt>
                <c:pt idx="285">
                  <c:v>39624</c:v>
                </c:pt>
                <c:pt idx="286">
                  <c:v>39631</c:v>
                </c:pt>
                <c:pt idx="287">
                  <c:v>39638</c:v>
                </c:pt>
                <c:pt idx="288">
                  <c:v>39645</c:v>
                </c:pt>
                <c:pt idx="289">
                  <c:v>39652</c:v>
                </c:pt>
                <c:pt idx="290">
                  <c:v>39659</c:v>
                </c:pt>
                <c:pt idx="291">
                  <c:v>39666</c:v>
                </c:pt>
                <c:pt idx="292">
                  <c:v>39673</c:v>
                </c:pt>
                <c:pt idx="293">
                  <c:v>39680</c:v>
                </c:pt>
                <c:pt idx="294">
                  <c:v>39687</c:v>
                </c:pt>
                <c:pt idx="295">
                  <c:v>39694</c:v>
                </c:pt>
                <c:pt idx="296">
                  <c:v>39701</c:v>
                </c:pt>
                <c:pt idx="297">
                  <c:v>39708</c:v>
                </c:pt>
                <c:pt idx="298">
                  <c:v>39715</c:v>
                </c:pt>
                <c:pt idx="299">
                  <c:v>39722</c:v>
                </c:pt>
                <c:pt idx="300">
                  <c:v>39729</c:v>
                </c:pt>
                <c:pt idx="301">
                  <c:v>39736</c:v>
                </c:pt>
                <c:pt idx="302">
                  <c:v>39743</c:v>
                </c:pt>
                <c:pt idx="303">
                  <c:v>39750</c:v>
                </c:pt>
                <c:pt idx="304">
                  <c:v>39757</c:v>
                </c:pt>
                <c:pt idx="305">
                  <c:v>39764</c:v>
                </c:pt>
                <c:pt idx="306">
                  <c:v>39771</c:v>
                </c:pt>
                <c:pt idx="307">
                  <c:v>39778</c:v>
                </c:pt>
                <c:pt idx="308">
                  <c:v>39785</c:v>
                </c:pt>
                <c:pt idx="309">
                  <c:v>39792</c:v>
                </c:pt>
                <c:pt idx="310">
                  <c:v>39799</c:v>
                </c:pt>
                <c:pt idx="311">
                  <c:v>39806</c:v>
                </c:pt>
                <c:pt idx="312">
                  <c:v>39813</c:v>
                </c:pt>
                <c:pt idx="313">
                  <c:v>39820</c:v>
                </c:pt>
                <c:pt idx="314">
                  <c:v>39827</c:v>
                </c:pt>
                <c:pt idx="315">
                  <c:v>39834</c:v>
                </c:pt>
                <c:pt idx="316">
                  <c:v>39841</c:v>
                </c:pt>
                <c:pt idx="317">
                  <c:v>39848</c:v>
                </c:pt>
                <c:pt idx="318">
                  <c:v>39855</c:v>
                </c:pt>
                <c:pt idx="319">
                  <c:v>39862</c:v>
                </c:pt>
                <c:pt idx="320">
                  <c:v>39869</c:v>
                </c:pt>
                <c:pt idx="321">
                  <c:v>39876</c:v>
                </c:pt>
                <c:pt idx="322">
                  <c:v>39883</c:v>
                </c:pt>
                <c:pt idx="323">
                  <c:v>39890</c:v>
                </c:pt>
                <c:pt idx="324">
                  <c:v>39897</c:v>
                </c:pt>
                <c:pt idx="325">
                  <c:v>39904</c:v>
                </c:pt>
                <c:pt idx="326">
                  <c:v>39911</c:v>
                </c:pt>
                <c:pt idx="327">
                  <c:v>39918</c:v>
                </c:pt>
                <c:pt idx="328">
                  <c:v>39925</c:v>
                </c:pt>
                <c:pt idx="329">
                  <c:v>39932</c:v>
                </c:pt>
                <c:pt idx="330">
                  <c:v>39939</c:v>
                </c:pt>
                <c:pt idx="331">
                  <c:v>39946</c:v>
                </c:pt>
                <c:pt idx="332">
                  <c:v>39953</c:v>
                </c:pt>
                <c:pt idx="333">
                  <c:v>39960</c:v>
                </c:pt>
                <c:pt idx="334">
                  <c:v>39967</c:v>
                </c:pt>
                <c:pt idx="335">
                  <c:v>39974</c:v>
                </c:pt>
                <c:pt idx="336">
                  <c:v>39981</c:v>
                </c:pt>
                <c:pt idx="337">
                  <c:v>39988</c:v>
                </c:pt>
                <c:pt idx="338">
                  <c:v>39995</c:v>
                </c:pt>
                <c:pt idx="339">
                  <c:v>40002</c:v>
                </c:pt>
                <c:pt idx="340">
                  <c:v>40009</c:v>
                </c:pt>
                <c:pt idx="341">
                  <c:v>40016</c:v>
                </c:pt>
                <c:pt idx="342">
                  <c:v>40023</c:v>
                </c:pt>
                <c:pt idx="343">
                  <c:v>40030</c:v>
                </c:pt>
                <c:pt idx="344">
                  <c:v>40037</c:v>
                </c:pt>
                <c:pt idx="345">
                  <c:v>40044</c:v>
                </c:pt>
                <c:pt idx="346">
                  <c:v>40051</c:v>
                </c:pt>
                <c:pt idx="347">
                  <c:v>40058</c:v>
                </c:pt>
                <c:pt idx="348">
                  <c:v>40065</c:v>
                </c:pt>
                <c:pt idx="349">
                  <c:v>40072</c:v>
                </c:pt>
                <c:pt idx="350">
                  <c:v>40079</c:v>
                </c:pt>
                <c:pt idx="351">
                  <c:v>40086</c:v>
                </c:pt>
                <c:pt idx="352">
                  <c:v>40093</c:v>
                </c:pt>
                <c:pt idx="353">
                  <c:v>40100</c:v>
                </c:pt>
                <c:pt idx="354">
                  <c:v>40107</c:v>
                </c:pt>
                <c:pt idx="355">
                  <c:v>40114</c:v>
                </c:pt>
                <c:pt idx="356">
                  <c:v>40121</c:v>
                </c:pt>
                <c:pt idx="357">
                  <c:v>40128</c:v>
                </c:pt>
                <c:pt idx="358">
                  <c:v>40135</c:v>
                </c:pt>
                <c:pt idx="359">
                  <c:v>40142</c:v>
                </c:pt>
                <c:pt idx="360">
                  <c:v>40149</c:v>
                </c:pt>
                <c:pt idx="361">
                  <c:v>40156</c:v>
                </c:pt>
                <c:pt idx="362">
                  <c:v>40163</c:v>
                </c:pt>
                <c:pt idx="363">
                  <c:v>40170</c:v>
                </c:pt>
                <c:pt idx="364">
                  <c:v>40171</c:v>
                </c:pt>
                <c:pt idx="365">
                  <c:v>40172</c:v>
                </c:pt>
                <c:pt idx="366">
                  <c:v>40175</c:v>
                </c:pt>
                <c:pt idx="367">
                  <c:v>40176</c:v>
                </c:pt>
                <c:pt idx="368">
                  <c:v>40177</c:v>
                </c:pt>
                <c:pt idx="369">
                  <c:v>40178</c:v>
                </c:pt>
                <c:pt idx="370">
                  <c:v>40179</c:v>
                </c:pt>
                <c:pt idx="371">
                  <c:v>40182</c:v>
                </c:pt>
                <c:pt idx="372">
                  <c:v>40183</c:v>
                </c:pt>
                <c:pt idx="373">
                  <c:v>40184</c:v>
                </c:pt>
                <c:pt idx="374">
                  <c:v>40185</c:v>
                </c:pt>
                <c:pt idx="375">
                  <c:v>40186</c:v>
                </c:pt>
                <c:pt idx="376">
                  <c:v>40189</c:v>
                </c:pt>
                <c:pt idx="377">
                  <c:v>40190</c:v>
                </c:pt>
                <c:pt idx="378">
                  <c:v>40191</c:v>
                </c:pt>
                <c:pt idx="379">
                  <c:v>40192</c:v>
                </c:pt>
                <c:pt idx="380">
                  <c:v>40193</c:v>
                </c:pt>
                <c:pt idx="381">
                  <c:v>40196</c:v>
                </c:pt>
                <c:pt idx="382">
                  <c:v>40197</c:v>
                </c:pt>
                <c:pt idx="383">
                  <c:v>40198</c:v>
                </c:pt>
                <c:pt idx="384">
                  <c:v>40199</c:v>
                </c:pt>
                <c:pt idx="385">
                  <c:v>40200</c:v>
                </c:pt>
                <c:pt idx="386">
                  <c:v>40203</c:v>
                </c:pt>
                <c:pt idx="387">
                  <c:v>40204</c:v>
                </c:pt>
                <c:pt idx="388">
                  <c:v>40205</c:v>
                </c:pt>
                <c:pt idx="389">
                  <c:v>40206</c:v>
                </c:pt>
                <c:pt idx="390">
                  <c:v>40207</c:v>
                </c:pt>
                <c:pt idx="391">
                  <c:v>40210</c:v>
                </c:pt>
                <c:pt idx="392">
                  <c:v>40211</c:v>
                </c:pt>
                <c:pt idx="393">
                  <c:v>40212</c:v>
                </c:pt>
                <c:pt idx="394">
                  <c:v>40213</c:v>
                </c:pt>
                <c:pt idx="395">
                  <c:v>40214</c:v>
                </c:pt>
                <c:pt idx="396">
                  <c:v>40217</c:v>
                </c:pt>
                <c:pt idx="397">
                  <c:v>40218</c:v>
                </c:pt>
                <c:pt idx="398">
                  <c:v>40219</c:v>
                </c:pt>
                <c:pt idx="399">
                  <c:v>40220</c:v>
                </c:pt>
                <c:pt idx="400">
                  <c:v>40221</c:v>
                </c:pt>
                <c:pt idx="401">
                  <c:v>40224</c:v>
                </c:pt>
                <c:pt idx="402">
                  <c:v>40225</c:v>
                </c:pt>
                <c:pt idx="403">
                  <c:v>40226</c:v>
                </c:pt>
                <c:pt idx="404">
                  <c:v>40227</c:v>
                </c:pt>
                <c:pt idx="405">
                  <c:v>40228</c:v>
                </c:pt>
                <c:pt idx="406">
                  <c:v>40231</c:v>
                </c:pt>
                <c:pt idx="407">
                  <c:v>40232</c:v>
                </c:pt>
                <c:pt idx="408">
                  <c:v>40233</c:v>
                </c:pt>
                <c:pt idx="409">
                  <c:v>40234</c:v>
                </c:pt>
                <c:pt idx="410">
                  <c:v>40235</c:v>
                </c:pt>
                <c:pt idx="411">
                  <c:v>40238</c:v>
                </c:pt>
                <c:pt idx="412">
                  <c:v>40239</c:v>
                </c:pt>
                <c:pt idx="413">
                  <c:v>40240</c:v>
                </c:pt>
                <c:pt idx="414">
                  <c:v>40241</c:v>
                </c:pt>
                <c:pt idx="415">
                  <c:v>40242</c:v>
                </c:pt>
                <c:pt idx="416">
                  <c:v>40245</c:v>
                </c:pt>
                <c:pt idx="417">
                  <c:v>40246</c:v>
                </c:pt>
                <c:pt idx="418">
                  <c:v>40247</c:v>
                </c:pt>
                <c:pt idx="419">
                  <c:v>40248</c:v>
                </c:pt>
                <c:pt idx="420">
                  <c:v>40249</c:v>
                </c:pt>
                <c:pt idx="421">
                  <c:v>40252</c:v>
                </c:pt>
                <c:pt idx="422">
                  <c:v>40253</c:v>
                </c:pt>
                <c:pt idx="423">
                  <c:v>40254</c:v>
                </c:pt>
                <c:pt idx="424">
                  <c:v>40255</c:v>
                </c:pt>
                <c:pt idx="425">
                  <c:v>40256</c:v>
                </c:pt>
                <c:pt idx="426">
                  <c:v>40259</c:v>
                </c:pt>
                <c:pt idx="427">
                  <c:v>40260</c:v>
                </c:pt>
                <c:pt idx="428">
                  <c:v>40261</c:v>
                </c:pt>
                <c:pt idx="429">
                  <c:v>40262</c:v>
                </c:pt>
                <c:pt idx="430">
                  <c:v>40263</c:v>
                </c:pt>
                <c:pt idx="431">
                  <c:v>40266</c:v>
                </c:pt>
                <c:pt idx="432">
                  <c:v>40267</c:v>
                </c:pt>
                <c:pt idx="433">
                  <c:v>40268</c:v>
                </c:pt>
                <c:pt idx="434">
                  <c:v>40269</c:v>
                </c:pt>
                <c:pt idx="435">
                  <c:v>40270</c:v>
                </c:pt>
                <c:pt idx="436">
                  <c:v>40273</c:v>
                </c:pt>
                <c:pt idx="437">
                  <c:v>40274</c:v>
                </c:pt>
                <c:pt idx="438">
                  <c:v>40275</c:v>
                </c:pt>
                <c:pt idx="439">
                  <c:v>40276</c:v>
                </c:pt>
                <c:pt idx="440">
                  <c:v>40277</c:v>
                </c:pt>
                <c:pt idx="441">
                  <c:v>40280</c:v>
                </c:pt>
                <c:pt idx="442">
                  <c:v>40281</c:v>
                </c:pt>
                <c:pt idx="443">
                  <c:v>40282</c:v>
                </c:pt>
                <c:pt idx="444">
                  <c:v>40283</c:v>
                </c:pt>
                <c:pt idx="445">
                  <c:v>40284</c:v>
                </c:pt>
                <c:pt idx="446">
                  <c:v>40287</c:v>
                </c:pt>
                <c:pt idx="447">
                  <c:v>40288</c:v>
                </c:pt>
                <c:pt idx="448">
                  <c:v>40289</c:v>
                </c:pt>
                <c:pt idx="449">
                  <c:v>40290</c:v>
                </c:pt>
                <c:pt idx="450">
                  <c:v>40291</c:v>
                </c:pt>
                <c:pt idx="451">
                  <c:v>40294</c:v>
                </c:pt>
                <c:pt idx="452">
                  <c:v>40295</c:v>
                </c:pt>
                <c:pt idx="453">
                  <c:v>40296</c:v>
                </c:pt>
                <c:pt idx="454">
                  <c:v>40297</c:v>
                </c:pt>
                <c:pt idx="455">
                  <c:v>40298</c:v>
                </c:pt>
                <c:pt idx="456">
                  <c:v>40301</c:v>
                </c:pt>
                <c:pt idx="457">
                  <c:v>40302</c:v>
                </c:pt>
                <c:pt idx="458">
                  <c:v>40303</c:v>
                </c:pt>
                <c:pt idx="459">
                  <c:v>40304</c:v>
                </c:pt>
                <c:pt idx="460">
                  <c:v>40305</c:v>
                </c:pt>
                <c:pt idx="461">
                  <c:v>40308</c:v>
                </c:pt>
                <c:pt idx="462">
                  <c:v>40309</c:v>
                </c:pt>
                <c:pt idx="463">
                  <c:v>40310</c:v>
                </c:pt>
                <c:pt idx="464">
                  <c:v>40311</c:v>
                </c:pt>
                <c:pt idx="465">
                  <c:v>40312</c:v>
                </c:pt>
                <c:pt idx="466">
                  <c:v>40315</c:v>
                </c:pt>
                <c:pt idx="467">
                  <c:v>40316</c:v>
                </c:pt>
                <c:pt idx="468">
                  <c:v>40317</c:v>
                </c:pt>
                <c:pt idx="469">
                  <c:v>40318</c:v>
                </c:pt>
                <c:pt idx="470">
                  <c:v>40319</c:v>
                </c:pt>
                <c:pt idx="471">
                  <c:v>40322</c:v>
                </c:pt>
                <c:pt idx="472">
                  <c:v>40323</c:v>
                </c:pt>
                <c:pt idx="473">
                  <c:v>40324</c:v>
                </c:pt>
                <c:pt idx="474">
                  <c:v>40325</c:v>
                </c:pt>
                <c:pt idx="475">
                  <c:v>40326</c:v>
                </c:pt>
                <c:pt idx="476">
                  <c:v>40329</c:v>
                </c:pt>
                <c:pt idx="477">
                  <c:v>40330</c:v>
                </c:pt>
                <c:pt idx="478">
                  <c:v>40331</c:v>
                </c:pt>
                <c:pt idx="479">
                  <c:v>40332</c:v>
                </c:pt>
                <c:pt idx="480">
                  <c:v>40333</c:v>
                </c:pt>
                <c:pt idx="481">
                  <c:v>40336</c:v>
                </c:pt>
                <c:pt idx="482">
                  <c:v>40337</c:v>
                </c:pt>
                <c:pt idx="483">
                  <c:v>40338</c:v>
                </c:pt>
                <c:pt idx="484">
                  <c:v>40339</c:v>
                </c:pt>
                <c:pt idx="485">
                  <c:v>40340</c:v>
                </c:pt>
                <c:pt idx="486">
                  <c:v>40343</c:v>
                </c:pt>
                <c:pt idx="487">
                  <c:v>40344</c:v>
                </c:pt>
                <c:pt idx="488">
                  <c:v>40345</c:v>
                </c:pt>
                <c:pt idx="489">
                  <c:v>40346</c:v>
                </c:pt>
                <c:pt idx="490">
                  <c:v>40347</c:v>
                </c:pt>
                <c:pt idx="491">
                  <c:v>40350</c:v>
                </c:pt>
                <c:pt idx="492">
                  <c:v>40351</c:v>
                </c:pt>
                <c:pt idx="493">
                  <c:v>40352</c:v>
                </c:pt>
                <c:pt idx="494">
                  <c:v>40353</c:v>
                </c:pt>
                <c:pt idx="495">
                  <c:v>40354</c:v>
                </c:pt>
                <c:pt idx="496">
                  <c:v>40357</c:v>
                </c:pt>
                <c:pt idx="497">
                  <c:v>40358</c:v>
                </c:pt>
                <c:pt idx="498">
                  <c:v>40359</c:v>
                </c:pt>
                <c:pt idx="499">
                  <c:v>40360</c:v>
                </c:pt>
                <c:pt idx="500">
                  <c:v>40361</c:v>
                </c:pt>
                <c:pt idx="501">
                  <c:v>40364</c:v>
                </c:pt>
                <c:pt idx="502">
                  <c:v>40365</c:v>
                </c:pt>
                <c:pt idx="503">
                  <c:v>40366</c:v>
                </c:pt>
                <c:pt idx="504">
                  <c:v>40367</c:v>
                </c:pt>
                <c:pt idx="505">
                  <c:v>40368</c:v>
                </c:pt>
                <c:pt idx="506">
                  <c:v>40371</c:v>
                </c:pt>
                <c:pt idx="507">
                  <c:v>40372</c:v>
                </c:pt>
                <c:pt idx="508">
                  <c:v>40373</c:v>
                </c:pt>
                <c:pt idx="509">
                  <c:v>40374</c:v>
                </c:pt>
                <c:pt idx="510">
                  <c:v>40375</c:v>
                </c:pt>
                <c:pt idx="511">
                  <c:v>40378</c:v>
                </c:pt>
                <c:pt idx="512">
                  <c:v>40379</c:v>
                </c:pt>
                <c:pt idx="513">
                  <c:v>40380</c:v>
                </c:pt>
                <c:pt idx="514">
                  <c:v>40381</c:v>
                </c:pt>
                <c:pt idx="515">
                  <c:v>40382</c:v>
                </c:pt>
                <c:pt idx="516">
                  <c:v>40385</c:v>
                </c:pt>
                <c:pt idx="517">
                  <c:v>40386</c:v>
                </c:pt>
                <c:pt idx="518">
                  <c:v>40387</c:v>
                </c:pt>
                <c:pt idx="519">
                  <c:v>40388</c:v>
                </c:pt>
                <c:pt idx="520">
                  <c:v>40389</c:v>
                </c:pt>
                <c:pt idx="521">
                  <c:v>40392</c:v>
                </c:pt>
                <c:pt idx="522">
                  <c:v>40393</c:v>
                </c:pt>
                <c:pt idx="523">
                  <c:v>40394</c:v>
                </c:pt>
                <c:pt idx="524">
                  <c:v>40395</c:v>
                </c:pt>
                <c:pt idx="525">
                  <c:v>40396</c:v>
                </c:pt>
                <c:pt idx="526">
                  <c:v>40399</c:v>
                </c:pt>
                <c:pt idx="527">
                  <c:v>40400</c:v>
                </c:pt>
                <c:pt idx="528">
                  <c:v>40401</c:v>
                </c:pt>
                <c:pt idx="529">
                  <c:v>40402</c:v>
                </c:pt>
                <c:pt idx="530">
                  <c:v>40403</c:v>
                </c:pt>
                <c:pt idx="531">
                  <c:v>40406</c:v>
                </c:pt>
                <c:pt idx="532">
                  <c:v>40407</c:v>
                </c:pt>
                <c:pt idx="533">
                  <c:v>40408</c:v>
                </c:pt>
                <c:pt idx="534">
                  <c:v>40409</c:v>
                </c:pt>
                <c:pt idx="535">
                  <c:v>40410</c:v>
                </c:pt>
                <c:pt idx="536">
                  <c:v>40413</c:v>
                </c:pt>
                <c:pt idx="537">
                  <c:v>40414</c:v>
                </c:pt>
                <c:pt idx="538">
                  <c:v>40415</c:v>
                </c:pt>
                <c:pt idx="539">
                  <c:v>40416</c:v>
                </c:pt>
                <c:pt idx="540">
                  <c:v>40417</c:v>
                </c:pt>
                <c:pt idx="541">
                  <c:v>40420</c:v>
                </c:pt>
                <c:pt idx="542">
                  <c:v>40421</c:v>
                </c:pt>
                <c:pt idx="543">
                  <c:v>40422</c:v>
                </c:pt>
                <c:pt idx="544">
                  <c:v>40423</c:v>
                </c:pt>
                <c:pt idx="545">
                  <c:v>40424</c:v>
                </c:pt>
                <c:pt idx="546">
                  <c:v>40427</c:v>
                </c:pt>
                <c:pt idx="547">
                  <c:v>40428</c:v>
                </c:pt>
                <c:pt idx="548">
                  <c:v>40429</c:v>
                </c:pt>
                <c:pt idx="549">
                  <c:v>40430</c:v>
                </c:pt>
                <c:pt idx="550">
                  <c:v>40431</c:v>
                </c:pt>
                <c:pt idx="551">
                  <c:v>40434</c:v>
                </c:pt>
                <c:pt idx="552">
                  <c:v>40435</c:v>
                </c:pt>
                <c:pt idx="553">
                  <c:v>40436</c:v>
                </c:pt>
                <c:pt idx="554">
                  <c:v>40437</c:v>
                </c:pt>
                <c:pt idx="555">
                  <c:v>40438</c:v>
                </c:pt>
                <c:pt idx="556">
                  <c:v>40441</c:v>
                </c:pt>
                <c:pt idx="557">
                  <c:v>40442</c:v>
                </c:pt>
                <c:pt idx="558">
                  <c:v>40443</c:v>
                </c:pt>
                <c:pt idx="559">
                  <c:v>40444</c:v>
                </c:pt>
                <c:pt idx="560">
                  <c:v>40445</c:v>
                </c:pt>
                <c:pt idx="561">
                  <c:v>40448</c:v>
                </c:pt>
                <c:pt idx="562">
                  <c:v>40449</c:v>
                </c:pt>
                <c:pt idx="563">
                  <c:v>40450</c:v>
                </c:pt>
                <c:pt idx="564">
                  <c:v>40451</c:v>
                </c:pt>
                <c:pt idx="565">
                  <c:v>40452</c:v>
                </c:pt>
                <c:pt idx="566">
                  <c:v>40455</c:v>
                </c:pt>
                <c:pt idx="567">
                  <c:v>40456</c:v>
                </c:pt>
                <c:pt idx="568">
                  <c:v>40457</c:v>
                </c:pt>
                <c:pt idx="569">
                  <c:v>40458</c:v>
                </c:pt>
                <c:pt idx="570">
                  <c:v>40459</c:v>
                </c:pt>
                <c:pt idx="571">
                  <c:v>40462</c:v>
                </c:pt>
                <c:pt idx="572">
                  <c:v>40463</c:v>
                </c:pt>
                <c:pt idx="573">
                  <c:v>40464</c:v>
                </c:pt>
                <c:pt idx="574">
                  <c:v>40465</c:v>
                </c:pt>
                <c:pt idx="575">
                  <c:v>40466</c:v>
                </c:pt>
                <c:pt idx="576">
                  <c:v>40469</c:v>
                </c:pt>
                <c:pt idx="577">
                  <c:v>40470</c:v>
                </c:pt>
                <c:pt idx="578">
                  <c:v>40471</c:v>
                </c:pt>
                <c:pt idx="579">
                  <c:v>40472</c:v>
                </c:pt>
                <c:pt idx="580">
                  <c:v>40473</c:v>
                </c:pt>
                <c:pt idx="581">
                  <c:v>40476</c:v>
                </c:pt>
                <c:pt idx="582">
                  <c:v>40477</c:v>
                </c:pt>
                <c:pt idx="583">
                  <c:v>40478</c:v>
                </c:pt>
                <c:pt idx="584">
                  <c:v>40479</c:v>
                </c:pt>
                <c:pt idx="585">
                  <c:v>40480</c:v>
                </c:pt>
                <c:pt idx="586">
                  <c:v>40483</c:v>
                </c:pt>
                <c:pt idx="587">
                  <c:v>40484</c:v>
                </c:pt>
                <c:pt idx="588">
                  <c:v>40485</c:v>
                </c:pt>
                <c:pt idx="589">
                  <c:v>40486</c:v>
                </c:pt>
                <c:pt idx="590">
                  <c:v>40487</c:v>
                </c:pt>
                <c:pt idx="591">
                  <c:v>40490</c:v>
                </c:pt>
                <c:pt idx="592">
                  <c:v>40491</c:v>
                </c:pt>
                <c:pt idx="593">
                  <c:v>40492</c:v>
                </c:pt>
                <c:pt idx="594">
                  <c:v>40493</c:v>
                </c:pt>
                <c:pt idx="595">
                  <c:v>40494</c:v>
                </c:pt>
                <c:pt idx="596">
                  <c:v>40497</c:v>
                </c:pt>
                <c:pt idx="597">
                  <c:v>40498</c:v>
                </c:pt>
                <c:pt idx="598">
                  <c:v>40499</c:v>
                </c:pt>
                <c:pt idx="599">
                  <c:v>40500</c:v>
                </c:pt>
                <c:pt idx="600">
                  <c:v>40501</c:v>
                </c:pt>
                <c:pt idx="601">
                  <c:v>40504</c:v>
                </c:pt>
                <c:pt idx="602">
                  <c:v>40505</c:v>
                </c:pt>
                <c:pt idx="603">
                  <c:v>40506</c:v>
                </c:pt>
                <c:pt idx="604">
                  <c:v>40507</c:v>
                </c:pt>
                <c:pt idx="605">
                  <c:v>40508</c:v>
                </c:pt>
                <c:pt idx="606">
                  <c:v>40511</c:v>
                </c:pt>
                <c:pt idx="607">
                  <c:v>40512</c:v>
                </c:pt>
                <c:pt idx="608">
                  <c:v>40513</c:v>
                </c:pt>
                <c:pt idx="609">
                  <c:v>40514</c:v>
                </c:pt>
                <c:pt idx="610">
                  <c:v>40515</c:v>
                </c:pt>
                <c:pt idx="611">
                  <c:v>40518</c:v>
                </c:pt>
                <c:pt idx="612">
                  <c:v>40519</c:v>
                </c:pt>
                <c:pt idx="613">
                  <c:v>40520</c:v>
                </c:pt>
                <c:pt idx="614">
                  <c:v>40521</c:v>
                </c:pt>
                <c:pt idx="615">
                  <c:v>40522</c:v>
                </c:pt>
                <c:pt idx="616">
                  <c:v>40525</c:v>
                </c:pt>
                <c:pt idx="617">
                  <c:v>40526</c:v>
                </c:pt>
                <c:pt idx="618">
                  <c:v>40527</c:v>
                </c:pt>
                <c:pt idx="619">
                  <c:v>40528</c:v>
                </c:pt>
                <c:pt idx="620">
                  <c:v>40529</c:v>
                </c:pt>
                <c:pt idx="621">
                  <c:v>40532</c:v>
                </c:pt>
                <c:pt idx="622">
                  <c:v>40533</c:v>
                </c:pt>
                <c:pt idx="623">
                  <c:v>40534</c:v>
                </c:pt>
                <c:pt idx="624">
                  <c:v>40535</c:v>
                </c:pt>
                <c:pt idx="625">
                  <c:v>40536</c:v>
                </c:pt>
                <c:pt idx="626">
                  <c:v>40539</c:v>
                </c:pt>
                <c:pt idx="627">
                  <c:v>40540</c:v>
                </c:pt>
                <c:pt idx="628">
                  <c:v>40541</c:v>
                </c:pt>
                <c:pt idx="629">
                  <c:v>40542</c:v>
                </c:pt>
                <c:pt idx="630">
                  <c:v>40543</c:v>
                </c:pt>
                <c:pt idx="631">
                  <c:v>40546</c:v>
                </c:pt>
                <c:pt idx="632">
                  <c:v>40547</c:v>
                </c:pt>
                <c:pt idx="633">
                  <c:v>40548</c:v>
                </c:pt>
                <c:pt idx="634">
                  <c:v>40549</c:v>
                </c:pt>
                <c:pt idx="635">
                  <c:v>40550</c:v>
                </c:pt>
                <c:pt idx="636">
                  <c:v>40553</c:v>
                </c:pt>
                <c:pt idx="637">
                  <c:v>40554</c:v>
                </c:pt>
                <c:pt idx="638">
                  <c:v>40555</c:v>
                </c:pt>
                <c:pt idx="639">
                  <c:v>40556</c:v>
                </c:pt>
                <c:pt idx="640">
                  <c:v>40557</c:v>
                </c:pt>
                <c:pt idx="641">
                  <c:v>40560</c:v>
                </c:pt>
                <c:pt idx="642">
                  <c:v>40561</c:v>
                </c:pt>
                <c:pt idx="643">
                  <c:v>40562</c:v>
                </c:pt>
                <c:pt idx="644">
                  <c:v>40563</c:v>
                </c:pt>
                <c:pt idx="645">
                  <c:v>40564</c:v>
                </c:pt>
                <c:pt idx="646">
                  <c:v>40567</c:v>
                </c:pt>
                <c:pt idx="647">
                  <c:v>40568</c:v>
                </c:pt>
                <c:pt idx="648">
                  <c:v>40569</c:v>
                </c:pt>
                <c:pt idx="649">
                  <c:v>40570</c:v>
                </c:pt>
                <c:pt idx="650">
                  <c:v>40571</c:v>
                </c:pt>
                <c:pt idx="651">
                  <c:v>40574</c:v>
                </c:pt>
                <c:pt idx="652">
                  <c:v>40575</c:v>
                </c:pt>
                <c:pt idx="653">
                  <c:v>40576</c:v>
                </c:pt>
                <c:pt idx="654">
                  <c:v>40577</c:v>
                </c:pt>
                <c:pt idx="655">
                  <c:v>40578</c:v>
                </c:pt>
                <c:pt idx="656">
                  <c:v>40581</c:v>
                </c:pt>
                <c:pt idx="657">
                  <c:v>40582</c:v>
                </c:pt>
                <c:pt idx="658">
                  <c:v>40583</c:v>
                </c:pt>
                <c:pt idx="659">
                  <c:v>40584</c:v>
                </c:pt>
                <c:pt idx="660">
                  <c:v>40585</c:v>
                </c:pt>
                <c:pt idx="661">
                  <c:v>40588</c:v>
                </c:pt>
                <c:pt idx="662">
                  <c:v>40589</c:v>
                </c:pt>
                <c:pt idx="663">
                  <c:v>40590</c:v>
                </c:pt>
                <c:pt idx="664">
                  <c:v>40591</c:v>
                </c:pt>
                <c:pt idx="665">
                  <c:v>40592</c:v>
                </c:pt>
                <c:pt idx="666">
                  <c:v>40595</c:v>
                </c:pt>
                <c:pt idx="667">
                  <c:v>40596</c:v>
                </c:pt>
                <c:pt idx="668">
                  <c:v>40597</c:v>
                </c:pt>
                <c:pt idx="669">
                  <c:v>40598</c:v>
                </c:pt>
                <c:pt idx="670">
                  <c:v>40599</c:v>
                </c:pt>
                <c:pt idx="671">
                  <c:v>40602</c:v>
                </c:pt>
                <c:pt idx="672">
                  <c:v>40603</c:v>
                </c:pt>
                <c:pt idx="673">
                  <c:v>40604</c:v>
                </c:pt>
                <c:pt idx="674">
                  <c:v>40605</c:v>
                </c:pt>
                <c:pt idx="675">
                  <c:v>40606</c:v>
                </c:pt>
                <c:pt idx="676">
                  <c:v>40609</c:v>
                </c:pt>
                <c:pt idx="677">
                  <c:v>40610</c:v>
                </c:pt>
                <c:pt idx="678">
                  <c:v>40611</c:v>
                </c:pt>
                <c:pt idx="679">
                  <c:v>40612</c:v>
                </c:pt>
                <c:pt idx="680">
                  <c:v>40613</c:v>
                </c:pt>
                <c:pt idx="681">
                  <c:v>40616</c:v>
                </c:pt>
                <c:pt idx="682">
                  <c:v>40617</c:v>
                </c:pt>
                <c:pt idx="683">
                  <c:v>40618</c:v>
                </c:pt>
                <c:pt idx="684">
                  <c:v>40619</c:v>
                </c:pt>
                <c:pt idx="685">
                  <c:v>40620</c:v>
                </c:pt>
                <c:pt idx="686">
                  <c:v>40623</c:v>
                </c:pt>
                <c:pt idx="687">
                  <c:v>40624</c:v>
                </c:pt>
                <c:pt idx="688">
                  <c:v>40625</c:v>
                </c:pt>
                <c:pt idx="689">
                  <c:v>40626</c:v>
                </c:pt>
                <c:pt idx="690">
                  <c:v>40627</c:v>
                </c:pt>
                <c:pt idx="691">
                  <c:v>40630</c:v>
                </c:pt>
                <c:pt idx="692">
                  <c:v>40631</c:v>
                </c:pt>
                <c:pt idx="693">
                  <c:v>40632</c:v>
                </c:pt>
                <c:pt idx="694">
                  <c:v>40633</c:v>
                </c:pt>
                <c:pt idx="695">
                  <c:v>40634</c:v>
                </c:pt>
                <c:pt idx="696">
                  <c:v>40637</c:v>
                </c:pt>
                <c:pt idx="697">
                  <c:v>40638</c:v>
                </c:pt>
                <c:pt idx="698">
                  <c:v>40639</c:v>
                </c:pt>
                <c:pt idx="699">
                  <c:v>40640</c:v>
                </c:pt>
                <c:pt idx="700">
                  <c:v>40641</c:v>
                </c:pt>
                <c:pt idx="701">
                  <c:v>40644</c:v>
                </c:pt>
                <c:pt idx="702">
                  <c:v>40645</c:v>
                </c:pt>
                <c:pt idx="703">
                  <c:v>40646</c:v>
                </c:pt>
                <c:pt idx="704">
                  <c:v>40647</c:v>
                </c:pt>
                <c:pt idx="705">
                  <c:v>40648</c:v>
                </c:pt>
                <c:pt idx="706">
                  <c:v>40651</c:v>
                </c:pt>
                <c:pt idx="707">
                  <c:v>40652</c:v>
                </c:pt>
                <c:pt idx="708">
                  <c:v>40653</c:v>
                </c:pt>
                <c:pt idx="709">
                  <c:v>40654</c:v>
                </c:pt>
                <c:pt idx="710">
                  <c:v>40655</c:v>
                </c:pt>
                <c:pt idx="711">
                  <c:v>40658</c:v>
                </c:pt>
                <c:pt idx="712">
                  <c:v>40659</c:v>
                </c:pt>
                <c:pt idx="713">
                  <c:v>40660</c:v>
                </c:pt>
                <c:pt idx="714">
                  <c:v>40661</c:v>
                </c:pt>
                <c:pt idx="715">
                  <c:v>40662</c:v>
                </c:pt>
                <c:pt idx="716">
                  <c:v>40665</c:v>
                </c:pt>
                <c:pt idx="717">
                  <c:v>40666</c:v>
                </c:pt>
                <c:pt idx="718">
                  <c:v>40667</c:v>
                </c:pt>
                <c:pt idx="719">
                  <c:v>40668</c:v>
                </c:pt>
                <c:pt idx="720">
                  <c:v>40669</c:v>
                </c:pt>
                <c:pt idx="721">
                  <c:v>40672</c:v>
                </c:pt>
                <c:pt idx="722">
                  <c:v>40673</c:v>
                </c:pt>
                <c:pt idx="723">
                  <c:v>40674</c:v>
                </c:pt>
                <c:pt idx="724">
                  <c:v>40675</c:v>
                </c:pt>
                <c:pt idx="725">
                  <c:v>40676</c:v>
                </c:pt>
                <c:pt idx="726">
                  <c:v>40679</c:v>
                </c:pt>
                <c:pt idx="727">
                  <c:v>40680</c:v>
                </c:pt>
                <c:pt idx="728">
                  <c:v>40681</c:v>
                </c:pt>
                <c:pt idx="729">
                  <c:v>40682</c:v>
                </c:pt>
                <c:pt idx="730">
                  <c:v>40683</c:v>
                </c:pt>
                <c:pt idx="731">
                  <c:v>40686</c:v>
                </c:pt>
                <c:pt idx="732">
                  <c:v>40687</c:v>
                </c:pt>
                <c:pt idx="733">
                  <c:v>40688</c:v>
                </c:pt>
                <c:pt idx="734">
                  <c:v>40689</c:v>
                </c:pt>
                <c:pt idx="735">
                  <c:v>40690</c:v>
                </c:pt>
                <c:pt idx="736">
                  <c:v>40693</c:v>
                </c:pt>
                <c:pt idx="737">
                  <c:v>40694</c:v>
                </c:pt>
                <c:pt idx="738">
                  <c:v>40695</c:v>
                </c:pt>
                <c:pt idx="739">
                  <c:v>40696</c:v>
                </c:pt>
                <c:pt idx="740">
                  <c:v>40697</c:v>
                </c:pt>
                <c:pt idx="741">
                  <c:v>40700</c:v>
                </c:pt>
                <c:pt idx="742">
                  <c:v>40701</c:v>
                </c:pt>
                <c:pt idx="743">
                  <c:v>40702</c:v>
                </c:pt>
                <c:pt idx="744">
                  <c:v>40703</c:v>
                </c:pt>
                <c:pt idx="745">
                  <c:v>40704</c:v>
                </c:pt>
                <c:pt idx="746">
                  <c:v>40707</c:v>
                </c:pt>
                <c:pt idx="747">
                  <c:v>40708</c:v>
                </c:pt>
                <c:pt idx="748">
                  <c:v>40709</c:v>
                </c:pt>
                <c:pt idx="749">
                  <c:v>40710</c:v>
                </c:pt>
                <c:pt idx="750">
                  <c:v>40711</c:v>
                </c:pt>
                <c:pt idx="751">
                  <c:v>40714</c:v>
                </c:pt>
                <c:pt idx="752">
                  <c:v>40715</c:v>
                </c:pt>
                <c:pt idx="753">
                  <c:v>40716</c:v>
                </c:pt>
                <c:pt idx="754">
                  <c:v>40717</c:v>
                </c:pt>
                <c:pt idx="755">
                  <c:v>40718</c:v>
                </c:pt>
                <c:pt idx="756">
                  <c:v>40721</c:v>
                </c:pt>
                <c:pt idx="757">
                  <c:v>40722</c:v>
                </c:pt>
                <c:pt idx="758">
                  <c:v>40723</c:v>
                </c:pt>
                <c:pt idx="759">
                  <c:v>40724</c:v>
                </c:pt>
                <c:pt idx="760">
                  <c:v>40725</c:v>
                </c:pt>
                <c:pt idx="761">
                  <c:v>40728</c:v>
                </c:pt>
                <c:pt idx="762">
                  <c:v>40729</c:v>
                </c:pt>
                <c:pt idx="763">
                  <c:v>40730</c:v>
                </c:pt>
                <c:pt idx="764">
                  <c:v>40731</c:v>
                </c:pt>
                <c:pt idx="765">
                  <c:v>40732</c:v>
                </c:pt>
                <c:pt idx="766">
                  <c:v>40735</c:v>
                </c:pt>
                <c:pt idx="767">
                  <c:v>40736</c:v>
                </c:pt>
                <c:pt idx="768">
                  <c:v>40737</c:v>
                </c:pt>
                <c:pt idx="769">
                  <c:v>40738</c:v>
                </c:pt>
                <c:pt idx="770">
                  <c:v>40739</c:v>
                </c:pt>
                <c:pt idx="771">
                  <c:v>40742</c:v>
                </c:pt>
                <c:pt idx="772">
                  <c:v>40743</c:v>
                </c:pt>
                <c:pt idx="773">
                  <c:v>40744</c:v>
                </c:pt>
                <c:pt idx="774">
                  <c:v>40745</c:v>
                </c:pt>
                <c:pt idx="775">
                  <c:v>40746</c:v>
                </c:pt>
                <c:pt idx="776">
                  <c:v>40749</c:v>
                </c:pt>
                <c:pt idx="777">
                  <c:v>40750</c:v>
                </c:pt>
                <c:pt idx="778">
                  <c:v>40751</c:v>
                </c:pt>
                <c:pt idx="779">
                  <c:v>40752</c:v>
                </c:pt>
                <c:pt idx="780">
                  <c:v>40753</c:v>
                </c:pt>
                <c:pt idx="781">
                  <c:v>40756</c:v>
                </c:pt>
                <c:pt idx="782">
                  <c:v>40757</c:v>
                </c:pt>
                <c:pt idx="783">
                  <c:v>40758</c:v>
                </c:pt>
                <c:pt idx="784">
                  <c:v>40759</c:v>
                </c:pt>
                <c:pt idx="785">
                  <c:v>40760</c:v>
                </c:pt>
                <c:pt idx="786">
                  <c:v>40763</c:v>
                </c:pt>
                <c:pt idx="787">
                  <c:v>40764</c:v>
                </c:pt>
                <c:pt idx="788">
                  <c:v>40765</c:v>
                </c:pt>
                <c:pt idx="789">
                  <c:v>40766</c:v>
                </c:pt>
                <c:pt idx="790">
                  <c:v>40767</c:v>
                </c:pt>
                <c:pt idx="791">
                  <c:v>40770</c:v>
                </c:pt>
                <c:pt idx="792">
                  <c:v>40771</c:v>
                </c:pt>
                <c:pt idx="793">
                  <c:v>40772</c:v>
                </c:pt>
                <c:pt idx="794">
                  <c:v>40773</c:v>
                </c:pt>
                <c:pt idx="795">
                  <c:v>40774</c:v>
                </c:pt>
                <c:pt idx="796">
                  <c:v>40777</c:v>
                </c:pt>
                <c:pt idx="797">
                  <c:v>40778</c:v>
                </c:pt>
                <c:pt idx="798">
                  <c:v>40779</c:v>
                </c:pt>
                <c:pt idx="799">
                  <c:v>40780</c:v>
                </c:pt>
                <c:pt idx="800">
                  <c:v>40781</c:v>
                </c:pt>
                <c:pt idx="801">
                  <c:v>40784</c:v>
                </c:pt>
                <c:pt idx="802">
                  <c:v>40785</c:v>
                </c:pt>
                <c:pt idx="803">
                  <c:v>40786</c:v>
                </c:pt>
                <c:pt idx="804">
                  <c:v>40787</c:v>
                </c:pt>
                <c:pt idx="805">
                  <c:v>40788</c:v>
                </c:pt>
                <c:pt idx="806">
                  <c:v>40791</c:v>
                </c:pt>
                <c:pt idx="807">
                  <c:v>40792</c:v>
                </c:pt>
                <c:pt idx="808">
                  <c:v>40793</c:v>
                </c:pt>
                <c:pt idx="809">
                  <c:v>40794</c:v>
                </c:pt>
                <c:pt idx="810">
                  <c:v>40795</c:v>
                </c:pt>
                <c:pt idx="811">
                  <c:v>40798</c:v>
                </c:pt>
                <c:pt idx="812">
                  <c:v>40799</c:v>
                </c:pt>
                <c:pt idx="813">
                  <c:v>40800</c:v>
                </c:pt>
                <c:pt idx="814">
                  <c:v>40801</c:v>
                </c:pt>
                <c:pt idx="815">
                  <c:v>40802</c:v>
                </c:pt>
                <c:pt idx="816">
                  <c:v>40805</c:v>
                </c:pt>
                <c:pt idx="817">
                  <c:v>40806</c:v>
                </c:pt>
                <c:pt idx="818">
                  <c:v>40807</c:v>
                </c:pt>
                <c:pt idx="819">
                  <c:v>40808</c:v>
                </c:pt>
                <c:pt idx="820">
                  <c:v>40809</c:v>
                </c:pt>
                <c:pt idx="821">
                  <c:v>40812</c:v>
                </c:pt>
                <c:pt idx="822">
                  <c:v>40813</c:v>
                </c:pt>
                <c:pt idx="823">
                  <c:v>40814</c:v>
                </c:pt>
                <c:pt idx="824">
                  <c:v>40815</c:v>
                </c:pt>
                <c:pt idx="825">
                  <c:v>40816</c:v>
                </c:pt>
                <c:pt idx="826">
                  <c:v>40819</c:v>
                </c:pt>
                <c:pt idx="827">
                  <c:v>40820</c:v>
                </c:pt>
                <c:pt idx="828">
                  <c:v>40821</c:v>
                </c:pt>
                <c:pt idx="829">
                  <c:v>40822</c:v>
                </c:pt>
                <c:pt idx="830">
                  <c:v>40823</c:v>
                </c:pt>
                <c:pt idx="831">
                  <c:v>40826</c:v>
                </c:pt>
                <c:pt idx="832">
                  <c:v>40827</c:v>
                </c:pt>
                <c:pt idx="833">
                  <c:v>40828</c:v>
                </c:pt>
                <c:pt idx="834">
                  <c:v>40829</c:v>
                </c:pt>
                <c:pt idx="835">
                  <c:v>40830</c:v>
                </c:pt>
                <c:pt idx="836">
                  <c:v>40833</c:v>
                </c:pt>
                <c:pt idx="837">
                  <c:v>40834</c:v>
                </c:pt>
                <c:pt idx="838">
                  <c:v>40835</c:v>
                </c:pt>
                <c:pt idx="839">
                  <c:v>40836</c:v>
                </c:pt>
                <c:pt idx="840">
                  <c:v>40837</c:v>
                </c:pt>
                <c:pt idx="841">
                  <c:v>40840</c:v>
                </c:pt>
                <c:pt idx="842">
                  <c:v>40841</c:v>
                </c:pt>
                <c:pt idx="843">
                  <c:v>40842</c:v>
                </c:pt>
                <c:pt idx="844">
                  <c:v>40843</c:v>
                </c:pt>
                <c:pt idx="845">
                  <c:v>40844</c:v>
                </c:pt>
                <c:pt idx="846">
                  <c:v>40847</c:v>
                </c:pt>
                <c:pt idx="847">
                  <c:v>40848</c:v>
                </c:pt>
                <c:pt idx="848">
                  <c:v>40849</c:v>
                </c:pt>
                <c:pt idx="849">
                  <c:v>40850</c:v>
                </c:pt>
                <c:pt idx="850">
                  <c:v>40851</c:v>
                </c:pt>
                <c:pt idx="851">
                  <c:v>40854</c:v>
                </c:pt>
                <c:pt idx="852">
                  <c:v>40855</c:v>
                </c:pt>
                <c:pt idx="853">
                  <c:v>40856</c:v>
                </c:pt>
                <c:pt idx="854">
                  <c:v>40857</c:v>
                </c:pt>
                <c:pt idx="855">
                  <c:v>40858</c:v>
                </c:pt>
                <c:pt idx="856">
                  <c:v>40861</c:v>
                </c:pt>
                <c:pt idx="857">
                  <c:v>40862</c:v>
                </c:pt>
                <c:pt idx="858">
                  <c:v>40863</c:v>
                </c:pt>
                <c:pt idx="859">
                  <c:v>40864</c:v>
                </c:pt>
                <c:pt idx="860">
                  <c:v>40865</c:v>
                </c:pt>
                <c:pt idx="861">
                  <c:v>40868</c:v>
                </c:pt>
                <c:pt idx="862">
                  <c:v>40869</c:v>
                </c:pt>
                <c:pt idx="863">
                  <c:v>40870</c:v>
                </c:pt>
                <c:pt idx="864">
                  <c:v>40871</c:v>
                </c:pt>
                <c:pt idx="865">
                  <c:v>40872</c:v>
                </c:pt>
                <c:pt idx="866">
                  <c:v>40875</c:v>
                </c:pt>
                <c:pt idx="867">
                  <c:v>40876</c:v>
                </c:pt>
                <c:pt idx="868">
                  <c:v>40877</c:v>
                </c:pt>
                <c:pt idx="869">
                  <c:v>40878</c:v>
                </c:pt>
                <c:pt idx="870">
                  <c:v>40879</c:v>
                </c:pt>
                <c:pt idx="871">
                  <c:v>40882</c:v>
                </c:pt>
                <c:pt idx="872">
                  <c:v>40883</c:v>
                </c:pt>
                <c:pt idx="873">
                  <c:v>40884</c:v>
                </c:pt>
                <c:pt idx="874">
                  <c:v>40885</c:v>
                </c:pt>
                <c:pt idx="875">
                  <c:v>40886</c:v>
                </c:pt>
                <c:pt idx="876">
                  <c:v>40889</c:v>
                </c:pt>
                <c:pt idx="877">
                  <c:v>40890</c:v>
                </c:pt>
                <c:pt idx="878">
                  <c:v>40891</c:v>
                </c:pt>
                <c:pt idx="879">
                  <c:v>40892</c:v>
                </c:pt>
                <c:pt idx="880">
                  <c:v>40893</c:v>
                </c:pt>
                <c:pt idx="881">
                  <c:v>40896</c:v>
                </c:pt>
                <c:pt idx="882">
                  <c:v>40897</c:v>
                </c:pt>
                <c:pt idx="883">
                  <c:v>40898</c:v>
                </c:pt>
                <c:pt idx="884">
                  <c:v>40899</c:v>
                </c:pt>
                <c:pt idx="885">
                  <c:v>40900</c:v>
                </c:pt>
                <c:pt idx="886">
                  <c:v>40903</c:v>
                </c:pt>
                <c:pt idx="887">
                  <c:v>40904</c:v>
                </c:pt>
                <c:pt idx="888">
                  <c:v>40905</c:v>
                </c:pt>
                <c:pt idx="889">
                  <c:v>40906</c:v>
                </c:pt>
                <c:pt idx="890">
                  <c:v>40907</c:v>
                </c:pt>
                <c:pt idx="891">
                  <c:v>40910</c:v>
                </c:pt>
                <c:pt idx="892">
                  <c:v>40911</c:v>
                </c:pt>
                <c:pt idx="893">
                  <c:v>40912</c:v>
                </c:pt>
                <c:pt idx="894">
                  <c:v>40913</c:v>
                </c:pt>
                <c:pt idx="895">
                  <c:v>40914</c:v>
                </c:pt>
                <c:pt idx="896">
                  <c:v>40917</c:v>
                </c:pt>
                <c:pt idx="897">
                  <c:v>40918</c:v>
                </c:pt>
                <c:pt idx="898">
                  <c:v>40919</c:v>
                </c:pt>
                <c:pt idx="899">
                  <c:v>40920</c:v>
                </c:pt>
                <c:pt idx="900">
                  <c:v>40921</c:v>
                </c:pt>
                <c:pt idx="901">
                  <c:v>40924</c:v>
                </c:pt>
                <c:pt idx="902">
                  <c:v>40925</c:v>
                </c:pt>
                <c:pt idx="903">
                  <c:v>40926</c:v>
                </c:pt>
                <c:pt idx="904">
                  <c:v>40927</c:v>
                </c:pt>
                <c:pt idx="905">
                  <c:v>40928</c:v>
                </c:pt>
                <c:pt idx="906">
                  <c:v>40931</c:v>
                </c:pt>
                <c:pt idx="907">
                  <c:v>40932</c:v>
                </c:pt>
                <c:pt idx="908">
                  <c:v>40933</c:v>
                </c:pt>
                <c:pt idx="909">
                  <c:v>40934</c:v>
                </c:pt>
                <c:pt idx="910">
                  <c:v>40935</c:v>
                </c:pt>
                <c:pt idx="911">
                  <c:v>40938</c:v>
                </c:pt>
                <c:pt idx="912">
                  <c:v>40939</c:v>
                </c:pt>
                <c:pt idx="913">
                  <c:v>40940</c:v>
                </c:pt>
                <c:pt idx="914">
                  <c:v>40941</c:v>
                </c:pt>
                <c:pt idx="915">
                  <c:v>40942</c:v>
                </c:pt>
                <c:pt idx="916">
                  <c:v>40945</c:v>
                </c:pt>
                <c:pt idx="917">
                  <c:v>40946</c:v>
                </c:pt>
                <c:pt idx="918">
                  <c:v>40947</c:v>
                </c:pt>
                <c:pt idx="919">
                  <c:v>40948</c:v>
                </c:pt>
                <c:pt idx="920">
                  <c:v>40949</c:v>
                </c:pt>
                <c:pt idx="921">
                  <c:v>40952</c:v>
                </c:pt>
                <c:pt idx="922">
                  <c:v>40953</c:v>
                </c:pt>
                <c:pt idx="923">
                  <c:v>40954</c:v>
                </c:pt>
                <c:pt idx="924">
                  <c:v>40955</c:v>
                </c:pt>
                <c:pt idx="925">
                  <c:v>40956</c:v>
                </c:pt>
                <c:pt idx="926">
                  <c:v>40959</c:v>
                </c:pt>
                <c:pt idx="927">
                  <c:v>40960</c:v>
                </c:pt>
                <c:pt idx="928">
                  <c:v>40961</c:v>
                </c:pt>
                <c:pt idx="929">
                  <c:v>40962</c:v>
                </c:pt>
                <c:pt idx="930">
                  <c:v>40963</c:v>
                </c:pt>
                <c:pt idx="931">
                  <c:v>40966</c:v>
                </c:pt>
                <c:pt idx="932">
                  <c:v>40967</c:v>
                </c:pt>
                <c:pt idx="933">
                  <c:v>40968</c:v>
                </c:pt>
                <c:pt idx="934">
                  <c:v>40969</c:v>
                </c:pt>
                <c:pt idx="935">
                  <c:v>40970</c:v>
                </c:pt>
                <c:pt idx="936">
                  <c:v>40973</c:v>
                </c:pt>
                <c:pt idx="937">
                  <c:v>40974</c:v>
                </c:pt>
                <c:pt idx="938">
                  <c:v>40975</c:v>
                </c:pt>
                <c:pt idx="939">
                  <c:v>40976</c:v>
                </c:pt>
                <c:pt idx="940">
                  <c:v>40977</c:v>
                </c:pt>
                <c:pt idx="941">
                  <c:v>40980</c:v>
                </c:pt>
                <c:pt idx="942">
                  <c:v>40981</c:v>
                </c:pt>
                <c:pt idx="943">
                  <c:v>40982</c:v>
                </c:pt>
                <c:pt idx="944">
                  <c:v>40983</c:v>
                </c:pt>
                <c:pt idx="945">
                  <c:v>40984</c:v>
                </c:pt>
                <c:pt idx="946">
                  <c:v>40987</c:v>
                </c:pt>
                <c:pt idx="947">
                  <c:v>40988</c:v>
                </c:pt>
                <c:pt idx="948">
                  <c:v>40989</c:v>
                </c:pt>
                <c:pt idx="949">
                  <c:v>40990</c:v>
                </c:pt>
                <c:pt idx="950">
                  <c:v>40991</c:v>
                </c:pt>
                <c:pt idx="951">
                  <c:v>40994</c:v>
                </c:pt>
                <c:pt idx="952">
                  <c:v>40995</c:v>
                </c:pt>
                <c:pt idx="953">
                  <c:v>40996</c:v>
                </c:pt>
                <c:pt idx="954">
                  <c:v>40997</c:v>
                </c:pt>
                <c:pt idx="955">
                  <c:v>40998</c:v>
                </c:pt>
                <c:pt idx="956">
                  <c:v>41001</c:v>
                </c:pt>
                <c:pt idx="957">
                  <c:v>41002</c:v>
                </c:pt>
                <c:pt idx="958">
                  <c:v>41003</c:v>
                </c:pt>
                <c:pt idx="959">
                  <c:v>41004</c:v>
                </c:pt>
                <c:pt idx="960">
                  <c:v>41005</c:v>
                </c:pt>
                <c:pt idx="961">
                  <c:v>41008</c:v>
                </c:pt>
                <c:pt idx="962">
                  <c:v>41009</c:v>
                </c:pt>
                <c:pt idx="963">
                  <c:v>41010</c:v>
                </c:pt>
                <c:pt idx="964">
                  <c:v>41011</c:v>
                </c:pt>
                <c:pt idx="965">
                  <c:v>41012</c:v>
                </c:pt>
                <c:pt idx="966">
                  <c:v>41015</c:v>
                </c:pt>
                <c:pt idx="967">
                  <c:v>41016</c:v>
                </c:pt>
                <c:pt idx="968">
                  <c:v>41017</c:v>
                </c:pt>
                <c:pt idx="969">
                  <c:v>41018</c:v>
                </c:pt>
                <c:pt idx="970">
                  <c:v>41019</c:v>
                </c:pt>
                <c:pt idx="971">
                  <c:v>41022</c:v>
                </c:pt>
                <c:pt idx="972">
                  <c:v>41023</c:v>
                </c:pt>
                <c:pt idx="973">
                  <c:v>41024</c:v>
                </c:pt>
                <c:pt idx="974">
                  <c:v>41025</c:v>
                </c:pt>
                <c:pt idx="975">
                  <c:v>41026</c:v>
                </c:pt>
                <c:pt idx="976">
                  <c:v>41029</c:v>
                </c:pt>
                <c:pt idx="977">
                  <c:v>41030</c:v>
                </c:pt>
                <c:pt idx="978">
                  <c:v>41031</c:v>
                </c:pt>
                <c:pt idx="979">
                  <c:v>41032</c:v>
                </c:pt>
                <c:pt idx="980">
                  <c:v>41033</c:v>
                </c:pt>
                <c:pt idx="981">
                  <c:v>41036</c:v>
                </c:pt>
                <c:pt idx="982">
                  <c:v>41037</c:v>
                </c:pt>
                <c:pt idx="983">
                  <c:v>41038</c:v>
                </c:pt>
                <c:pt idx="984">
                  <c:v>41039</c:v>
                </c:pt>
                <c:pt idx="985">
                  <c:v>41040</c:v>
                </c:pt>
                <c:pt idx="986">
                  <c:v>41043</c:v>
                </c:pt>
                <c:pt idx="987">
                  <c:v>41044</c:v>
                </c:pt>
                <c:pt idx="988">
                  <c:v>41045</c:v>
                </c:pt>
                <c:pt idx="989">
                  <c:v>41046</c:v>
                </c:pt>
                <c:pt idx="990">
                  <c:v>41047</c:v>
                </c:pt>
                <c:pt idx="991">
                  <c:v>41050</c:v>
                </c:pt>
                <c:pt idx="992">
                  <c:v>41051</c:v>
                </c:pt>
                <c:pt idx="993">
                  <c:v>41052</c:v>
                </c:pt>
                <c:pt idx="994">
                  <c:v>41053</c:v>
                </c:pt>
                <c:pt idx="995">
                  <c:v>41054</c:v>
                </c:pt>
                <c:pt idx="996">
                  <c:v>41057</c:v>
                </c:pt>
                <c:pt idx="997">
                  <c:v>41058</c:v>
                </c:pt>
                <c:pt idx="998">
                  <c:v>41059</c:v>
                </c:pt>
                <c:pt idx="999">
                  <c:v>41060</c:v>
                </c:pt>
                <c:pt idx="1000">
                  <c:v>41061</c:v>
                </c:pt>
                <c:pt idx="1001">
                  <c:v>41064</c:v>
                </c:pt>
                <c:pt idx="1002">
                  <c:v>41065</c:v>
                </c:pt>
                <c:pt idx="1003">
                  <c:v>41066</c:v>
                </c:pt>
                <c:pt idx="1004">
                  <c:v>41067</c:v>
                </c:pt>
                <c:pt idx="1005">
                  <c:v>41068</c:v>
                </c:pt>
                <c:pt idx="1006">
                  <c:v>41071</c:v>
                </c:pt>
                <c:pt idx="1007">
                  <c:v>41072</c:v>
                </c:pt>
                <c:pt idx="1008">
                  <c:v>41073</c:v>
                </c:pt>
                <c:pt idx="1009">
                  <c:v>41074</c:v>
                </c:pt>
                <c:pt idx="1010">
                  <c:v>41075</c:v>
                </c:pt>
                <c:pt idx="1011">
                  <c:v>41078</c:v>
                </c:pt>
                <c:pt idx="1012">
                  <c:v>41079</c:v>
                </c:pt>
                <c:pt idx="1013">
                  <c:v>41080</c:v>
                </c:pt>
                <c:pt idx="1014">
                  <c:v>41081</c:v>
                </c:pt>
                <c:pt idx="1015">
                  <c:v>41082</c:v>
                </c:pt>
                <c:pt idx="1016">
                  <c:v>41085</c:v>
                </c:pt>
                <c:pt idx="1017">
                  <c:v>41086</c:v>
                </c:pt>
                <c:pt idx="1018">
                  <c:v>41087</c:v>
                </c:pt>
                <c:pt idx="1019">
                  <c:v>41088</c:v>
                </c:pt>
                <c:pt idx="1020">
                  <c:v>41089</c:v>
                </c:pt>
                <c:pt idx="1021">
                  <c:v>41092</c:v>
                </c:pt>
                <c:pt idx="1022">
                  <c:v>41093</c:v>
                </c:pt>
                <c:pt idx="1023">
                  <c:v>41094</c:v>
                </c:pt>
                <c:pt idx="1024">
                  <c:v>41095</c:v>
                </c:pt>
                <c:pt idx="1025">
                  <c:v>41096</c:v>
                </c:pt>
                <c:pt idx="1026">
                  <c:v>41099</c:v>
                </c:pt>
                <c:pt idx="1027">
                  <c:v>41100</c:v>
                </c:pt>
                <c:pt idx="1028">
                  <c:v>41101</c:v>
                </c:pt>
                <c:pt idx="1029">
                  <c:v>41102</c:v>
                </c:pt>
                <c:pt idx="1030">
                  <c:v>41103</c:v>
                </c:pt>
                <c:pt idx="1031">
                  <c:v>41106</c:v>
                </c:pt>
                <c:pt idx="1032">
                  <c:v>41107</c:v>
                </c:pt>
                <c:pt idx="1033">
                  <c:v>41108</c:v>
                </c:pt>
                <c:pt idx="1034">
                  <c:v>41109</c:v>
                </c:pt>
                <c:pt idx="1035">
                  <c:v>41110</c:v>
                </c:pt>
                <c:pt idx="1036">
                  <c:v>41113</c:v>
                </c:pt>
                <c:pt idx="1037">
                  <c:v>41114</c:v>
                </c:pt>
                <c:pt idx="1038">
                  <c:v>41115</c:v>
                </c:pt>
                <c:pt idx="1039">
                  <c:v>41116</c:v>
                </c:pt>
                <c:pt idx="1040">
                  <c:v>41117</c:v>
                </c:pt>
                <c:pt idx="1041">
                  <c:v>41120</c:v>
                </c:pt>
                <c:pt idx="1042">
                  <c:v>41121</c:v>
                </c:pt>
                <c:pt idx="1043">
                  <c:v>41122</c:v>
                </c:pt>
                <c:pt idx="1044">
                  <c:v>41123</c:v>
                </c:pt>
                <c:pt idx="1045">
                  <c:v>41124</c:v>
                </c:pt>
                <c:pt idx="1046">
                  <c:v>41127</c:v>
                </c:pt>
                <c:pt idx="1047">
                  <c:v>41128</c:v>
                </c:pt>
                <c:pt idx="1048">
                  <c:v>41129</c:v>
                </c:pt>
                <c:pt idx="1049">
                  <c:v>41130</c:v>
                </c:pt>
                <c:pt idx="1050">
                  <c:v>41131</c:v>
                </c:pt>
                <c:pt idx="1051">
                  <c:v>41134</c:v>
                </c:pt>
                <c:pt idx="1052">
                  <c:v>41135</c:v>
                </c:pt>
                <c:pt idx="1053">
                  <c:v>41136</c:v>
                </c:pt>
                <c:pt idx="1054">
                  <c:v>41137</c:v>
                </c:pt>
                <c:pt idx="1055">
                  <c:v>41138</c:v>
                </c:pt>
                <c:pt idx="1056">
                  <c:v>41141</c:v>
                </c:pt>
                <c:pt idx="1057">
                  <c:v>41142</c:v>
                </c:pt>
                <c:pt idx="1058">
                  <c:v>41143</c:v>
                </c:pt>
                <c:pt idx="1059">
                  <c:v>41144</c:v>
                </c:pt>
                <c:pt idx="1060">
                  <c:v>41145</c:v>
                </c:pt>
                <c:pt idx="1061">
                  <c:v>41148</c:v>
                </c:pt>
                <c:pt idx="1062">
                  <c:v>41149</c:v>
                </c:pt>
                <c:pt idx="1063">
                  <c:v>41150</c:v>
                </c:pt>
                <c:pt idx="1064">
                  <c:v>41151</c:v>
                </c:pt>
                <c:pt idx="1065">
                  <c:v>41152</c:v>
                </c:pt>
                <c:pt idx="1066">
                  <c:v>41155</c:v>
                </c:pt>
                <c:pt idx="1067">
                  <c:v>41156</c:v>
                </c:pt>
                <c:pt idx="1068">
                  <c:v>41157</c:v>
                </c:pt>
                <c:pt idx="1069">
                  <c:v>41158</c:v>
                </c:pt>
                <c:pt idx="1070">
                  <c:v>41159</c:v>
                </c:pt>
                <c:pt idx="1071">
                  <c:v>41162</c:v>
                </c:pt>
                <c:pt idx="1072">
                  <c:v>41163</c:v>
                </c:pt>
                <c:pt idx="1073">
                  <c:v>41164</c:v>
                </c:pt>
                <c:pt idx="1074">
                  <c:v>41165</c:v>
                </c:pt>
                <c:pt idx="1075">
                  <c:v>41166</c:v>
                </c:pt>
                <c:pt idx="1076">
                  <c:v>41169</c:v>
                </c:pt>
                <c:pt idx="1077">
                  <c:v>41170</c:v>
                </c:pt>
                <c:pt idx="1078">
                  <c:v>41171</c:v>
                </c:pt>
                <c:pt idx="1079">
                  <c:v>41172</c:v>
                </c:pt>
                <c:pt idx="1080">
                  <c:v>41173</c:v>
                </c:pt>
                <c:pt idx="1081">
                  <c:v>41176</c:v>
                </c:pt>
                <c:pt idx="1082">
                  <c:v>41177</c:v>
                </c:pt>
                <c:pt idx="1083">
                  <c:v>41178</c:v>
                </c:pt>
                <c:pt idx="1084">
                  <c:v>41179</c:v>
                </c:pt>
                <c:pt idx="1085">
                  <c:v>41180</c:v>
                </c:pt>
                <c:pt idx="1086">
                  <c:v>41183</c:v>
                </c:pt>
                <c:pt idx="1087">
                  <c:v>41184</c:v>
                </c:pt>
                <c:pt idx="1088">
                  <c:v>41185</c:v>
                </c:pt>
                <c:pt idx="1089">
                  <c:v>41186</c:v>
                </c:pt>
                <c:pt idx="1090">
                  <c:v>41187</c:v>
                </c:pt>
                <c:pt idx="1091">
                  <c:v>41190</c:v>
                </c:pt>
                <c:pt idx="1092">
                  <c:v>41191</c:v>
                </c:pt>
                <c:pt idx="1093">
                  <c:v>41192</c:v>
                </c:pt>
                <c:pt idx="1094">
                  <c:v>41193</c:v>
                </c:pt>
                <c:pt idx="1095">
                  <c:v>41194</c:v>
                </c:pt>
              </c:numCache>
            </c:numRef>
          </c:cat>
          <c:val>
            <c:numRef>
              <c:f>'Data for Graph'!$B$4:$B$1099</c:f>
              <c:numCache>
                <c:formatCode>0.0</c:formatCode>
                <c:ptCount val="1096"/>
                <c:pt idx="0">
                  <c:v>100</c:v>
                </c:pt>
                <c:pt idx="1">
                  <c:v>98.980639651063868</c:v>
                </c:pt>
                <c:pt idx="2">
                  <c:v>91.904772770984579</c:v>
                </c:pt>
                <c:pt idx="3">
                  <c:v>87.777455413171808</c:v>
                </c:pt>
                <c:pt idx="4">
                  <c:v>86.902833150237484</c:v>
                </c:pt>
                <c:pt idx="5">
                  <c:v>84.848139105036154</c:v>
                </c:pt>
                <c:pt idx="6">
                  <c:v>86.803081226101114</c:v>
                </c:pt>
                <c:pt idx="7">
                  <c:v>81.935448117589914</c:v>
                </c:pt>
                <c:pt idx="8">
                  <c:v>80.961073930519206</c:v>
                </c:pt>
                <c:pt idx="9">
                  <c:v>75.595007188006292</c:v>
                </c:pt>
                <c:pt idx="10">
                  <c:v>84.801197023089628</c:v>
                </c:pt>
                <c:pt idx="11">
                  <c:v>83.900495825740549</c:v>
                </c:pt>
                <c:pt idx="12">
                  <c:v>82.717816150032107</c:v>
                </c:pt>
                <c:pt idx="13">
                  <c:v>89.593527208478264</c:v>
                </c:pt>
                <c:pt idx="14">
                  <c:v>92.809385808495875</c:v>
                </c:pt>
                <c:pt idx="15">
                  <c:v>94.959919937671344</c:v>
                </c:pt>
                <c:pt idx="16">
                  <c:v>96.054909196410236</c:v>
                </c:pt>
                <c:pt idx="17">
                  <c:v>97.328539155890084</c:v>
                </c:pt>
                <c:pt idx="18">
                  <c:v>96.177154201479325</c:v>
                </c:pt>
                <c:pt idx="19">
                  <c:v>92.612163866984389</c:v>
                </c:pt>
                <c:pt idx="20">
                  <c:v>94.60655037635162</c:v>
                </c:pt>
                <c:pt idx="21">
                  <c:v>100.00358585348201</c:v>
                </c:pt>
                <c:pt idx="22">
                  <c:v>103.0212445519476</c:v>
                </c:pt>
                <c:pt idx="23">
                  <c:v>106.54027076453656</c:v>
                </c:pt>
                <c:pt idx="24">
                  <c:v>104.7620134241315</c:v>
                </c:pt>
                <c:pt idx="25">
                  <c:v>104.90055776320979</c:v>
                </c:pt>
                <c:pt idx="26">
                  <c:v>108.20215086011584</c:v>
                </c:pt>
                <c:pt idx="27">
                  <c:v>109.96052301302967</c:v>
                </c:pt>
                <c:pt idx="28">
                  <c:v>108.49716880568259</c:v>
                </c:pt>
                <c:pt idx="29">
                  <c:v>112.15017554382727</c:v>
                </c:pt>
                <c:pt idx="30">
                  <c:v>110.07559631113473</c:v>
                </c:pt>
                <c:pt idx="31">
                  <c:v>110.94500278718611</c:v>
                </c:pt>
                <c:pt idx="32">
                  <c:v>114.92660409895652</c:v>
                </c:pt>
                <c:pt idx="33">
                  <c:v>113.54702846841678</c:v>
                </c:pt>
                <c:pt idx="34">
                  <c:v>117.76138426983873</c:v>
                </c:pt>
                <c:pt idx="35">
                  <c:v>116.36224943848794</c:v>
                </c:pt>
                <c:pt idx="36">
                  <c:v>116.26510540779303</c:v>
                </c:pt>
                <c:pt idx="37">
                  <c:v>109.69940768220209</c:v>
                </c:pt>
                <c:pt idx="38">
                  <c:v>108.26441431603104</c:v>
                </c:pt>
                <c:pt idx="39">
                  <c:v>111.54710018548641</c:v>
                </c:pt>
                <c:pt idx="40">
                  <c:v>115.66985372977661</c:v>
                </c:pt>
                <c:pt idx="41">
                  <c:v>114.61561280606074</c:v>
                </c:pt>
                <c:pt idx="42">
                  <c:v>117.45365284374481</c:v>
                </c:pt>
                <c:pt idx="43">
                  <c:v>122.0520209544238</c:v>
                </c:pt>
                <c:pt idx="44">
                  <c:v>122.48916909255088</c:v>
                </c:pt>
                <c:pt idx="45">
                  <c:v>119.13770003357662</c:v>
                </c:pt>
                <c:pt idx="46">
                  <c:v>121.75048327525337</c:v>
                </c:pt>
                <c:pt idx="47">
                  <c:v>125.32655715687457</c:v>
                </c:pt>
                <c:pt idx="48">
                  <c:v>125.13063916208382</c:v>
                </c:pt>
                <c:pt idx="49">
                  <c:v>126.21095902021442</c:v>
                </c:pt>
                <c:pt idx="50">
                  <c:v>127.07156385590083</c:v>
                </c:pt>
                <c:pt idx="51">
                  <c:v>129.52559158432786</c:v>
                </c:pt>
                <c:pt idx="52">
                  <c:v>131.29015748416521</c:v>
                </c:pt>
                <c:pt idx="53">
                  <c:v>131.87954140193833</c:v>
                </c:pt>
                <c:pt idx="54">
                  <c:v>134.80233797647028</c:v>
                </c:pt>
                <c:pt idx="55">
                  <c:v>134.09559885383084</c:v>
                </c:pt>
                <c:pt idx="56">
                  <c:v>131.81108419909961</c:v>
                </c:pt>
                <c:pt idx="57">
                  <c:v>133.72364805174058</c:v>
                </c:pt>
                <c:pt idx="58">
                  <c:v>133.50165112253512</c:v>
                </c:pt>
                <c:pt idx="59">
                  <c:v>130.92570437571919</c:v>
                </c:pt>
                <c:pt idx="60">
                  <c:v>133.56554451185124</c:v>
                </c:pt>
                <c:pt idx="61">
                  <c:v>131.0371918203422</c:v>
                </c:pt>
                <c:pt idx="62">
                  <c:v>125.02567145106451</c:v>
                </c:pt>
                <c:pt idx="63">
                  <c:v>122.69062886090474</c:v>
                </c:pt>
                <c:pt idx="64">
                  <c:v>127.42460743054038</c:v>
                </c:pt>
                <c:pt idx="65">
                  <c:v>131.04436352730627</c:v>
                </c:pt>
                <c:pt idx="66">
                  <c:v>131.28331176388133</c:v>
                </c:pt>
                <c:pt idx="67">
                  <c:v>132.18825078807279</c:v>
                </c:pt>
                <c:pt idx="68">
                  <c:v>132.47968288015753</c:v>
                </c:pt>
                <c:pt idx="69">
                  <c:v>129.2576305332164</c:v>
                </c:pt>
                <c:pt idx="70">
                  <c:v>124.12725216047671</c:v>
                </c:pt>
                <c:pt idx="71">
                  <c:v>124.44248128021489</c:v>
                </c:pt>
                <c:pt idx="72">
                  <c:v>126.34917737261256</c:v>
                </c:pt>
                <c:pt idx="73">
                  <c:v>127.47969917949152</c:v>
                </c:pt>
                <c:pt idx="74">
                  <c:v>130.85561723947959</c:v>
                </c:pt>
                <c:pt idx="75">
                  <c:v>129.90210619994068</c:v>
                </c:pt>
                <c:pt idx="76">
                  <c:v>129.63316718878866</c:v>
                </c:pt>
                <c:pt idx="77">
                  <c:v>131.86552397469038</c:v>
                </c:pt>
                <c:pt idx="78">
                  <c:v>128.63532196074468</c:v>
                </c:pt>
                <c:pt idx="79">
                  <c:v>126.41176681520794</c:v>
                </c:pt>
                <c:pt idx="80">
                  <c:v>124.69707687743879</c:v>
                </c:pt>
                <c:pt idx="81">
                  <c:v>124.91255407304055</c:v>
                </c:pt>
                <c:pt idx="82">
                  <c:v>124.66089235593833</c:v>
                </c:pt>
                <c:pt idx="83">
                  <c:v>119.9304996397847</c:v>
                </c:pt>
                <c:pt idx="84">
                  <c:v>121.05156783293833</c:v>
                </c:pt>
                <c:pt idx="85">
                  <c:v>123.97599434087124</c:v>
                </c:pt>
                <c:pt idx="86">
                  <c:v>124.80139261509775</c:v>
                </c:pt>
                <c:pt idx="87">
                  <c:v>126.47011843096092</c:v>
                </c:pt>
                <c:pt idx="88">
                  <c:v>129.05519280482198</c:v>
                </c:pt>
                <c:pt idx="89">
                  <c:v>128.61478479989307</c:v>
                </c:pt>
                <c:pt idx="90">
                  <c:v>127.55760999605555</c:v>
                </c:pt>
                <c:pt idx="91">
                  <c:v>131.63700731188123</c:v>
                </c:pt>
                <c:pt idx="92">
                  <c:v>129.24002725248644</c:v>
                </c:pt>
                <c:pt idx="93">
                  <c:v>128.18383040868949</c:v>
                </c:pt>
                <c:pt idx="94">
                  <c:v>127.56217380957816</c:v>
                </c:pt>
                <c:pt idx="95">
                  <c:v>131.66080433953468</c:v>
                </c:pt>
                <c:pt idx="96">
                  <c:v>133.63889151489269</c:v>
                </c:pt>
                <c:pt idx="97">
                  <c:v>135.27469267605724</c:v>
                </c:pt>
                <c:pt idx="98">
                  <c:v>134.81016165679469</c:v>
                </c:pt>
                <c:pt idx="99">
                  <c:v>136.15974651275749</c:v>
                </c:pt>
                <c:pt idx="100">
                  <c:v>136.4762795792164</c:v>
                </c:pt>
                <c:pt idx="101">
                  <c:v>137.43728831239955</c:v>
                </c:pt>
                <c:pt idx="102">
                  <c:v>138.02569427013211</c:v>
                </c:pt>
                <c:pt idx="103">
                  <c:v>138.59030320021122</c:v>
                </c:pt>
                <c:pt idx="104">
                  <c:v>139.89783577443026</c:v>
                </c:pt>
                <c:pt idx="105">
                  <c:v>138.33994542982973</c:v>
                </c:pt>
                <c:pt idx="106">
                  <c:v>138.06122681827222</c:v>
                </c:pt>
                <c:pt idx="107">
                  <c:v>137.35872552247514</c:v>
                </c:pt>
                <c:pt idx="108">
                  <c:v>139.86165125292979</c:v>
                </c:pt>
                <c:pt idx="109">
                  <c:v>142.26515104592826</c:v>
                </c:pt>
                <c:pt idx="110">
                  <c:v>142.69317155701017</c:v>
                </c:pt>
                <c:pt idx="111">
                  <c:v>141.08768715710275</c:v>
                </c:pt>
                <c:pt idx="112">
                  <c:v>142.94059544727</c:v>
                </c:pt>
                <c:pt idx="113">
                  <c:v>142.77140836025438</c:v>
                </c:pt>
                <c:pt idx="114">
                  <c:v>141.52516128190999</c:v>
                </c:pt>
                <c:pt idx="115">
                  <c:v>140.96609412539402</c:v>
                </c:pt>
                <c:pt idx="116">
                  <c:v>141.90395780428412</c:v>
                </c:pt>
                <c:pt idx="117">
                  <c:v>142.60841502016228</c:v>
                </c:pt>
                <c:pt idx="118">
                  <c:v>142.70523306417701</c:v>
                </c:pt>
                <c:pt idx="119">
                  <c:v>136.92842310463195</c:v>
                </c:pt>
                <c:pt idx="120">
                  <c:v>137.12727497954432</c:v>
                </c:pt>
                <c:pt idx="121">
                  <c:v>139.16012791717333</c:v>
                </c:pt>
                <c:pt idx="122">
                  <c:v>139.06885164672173</c:v>
                </c:pt>
                <c:pt idx="123">
                  <c:v>140.56317458868631</c:v>
                </c:pt>
                <c:pt idx="124">
                  <c:v>143.91920746118313</c:v>
                </c:pt>
                <c:pt idx="125">
                  <c:v>146.76441920583125</c:v>
                </c:pt>
                <c:pt idx="126">
                  <c:v>148.45042231574416</c:v>
                </c:pt>
                <c:pt idx="127">
                  <c:v>149.45674319747295</c:v>
                </c:pt>
                <c:pt idx="128">
                  <c:v>150.00929062038523</c:v>
                </c:pt>
                <c:pt idx="129">
                  <c:v>149.09489798246841</c:v>
                </c:pt>
                <c:pt idx="130">
                  <c:v>149.76284469016596</c:v>
                </c:pt>
                <c:pt idx="131">
                  <c:v>152.61685807517901</c:v>
                </c:pt>
                <c:pt idx="132">
                  <c:v>156.09122411258275</c:v>
                </c:pt>
                <c:pt idx="133">
                  <c:v>158.56350709510008</c:v>
                </c:pt>
                <c:pt idx="134">
                  <c:v>159.3947731295699</c:v>
                </c:pt>
                <c:pt idx="135">
                  <c:v>160.57549688519725</c:v>
                </c:pt>
                <c:pt idx="136">
                  <c:v>159.46453427912934</c:v>
                </c:pt>
                <c:pt idx="137">
                  <c:v>159.18059988068887</c:v>
                </c:pt>
                <c:pt idx="138">
                  <c:v>157.21946401270043</c:v>
                </c:pt>
                <c:pt idx="139">
                  <c:v>162.11317605562635</c:v>
                </c:pt>
                <c:pt idx="140">
                  <c:v>161.00808120980176</c:v>
                </c:pt>
                <c:pt idx="141">
                  <c:v>159.70609040914587</c:v>
                </c:pt>
                <c:pt idx="142">
                  <c:v>163.50220529989144</c:v>
                </c:pt>
                <c:pt idx="143">
                  <c:v>165.04412229716291</c:v>
                </c:pt>
                <c:pt idx="144">
                  <c:v>162.74982804202617</c:v>
                </c:pt>
                <c:pt idx="145">
                  <c:v>159.56819804342794</c:v>
                </c:pt>
                <c:pt idx="146">
                  <c:v>158.47679463817107</c:v>
                </c:pt>
                <c:pt idx="147">
                  <c:v>161.77219398815365</c:v>
                </c:pt>
                <c:pt idx="148">
                  <c:v>163.97586394619915</c:v>
                </c:pt>
                <c:pt idx="149">
                  <c:v>166.30340884271467</c:v>
                </c:pt>
                <c:pt idx="150">
                  <c:v>169.01529203516742</c:v>
                </c:pt>
                <c:pt idx="151">
                  <c:v>170.45191533473943</c:v>
                </c:pt>
                <c:pt idx="152">
                  <c:v>172.14248225817494</c:v>
                </c:pt>
                <c:pt idx="153">
                  <c:v>173.08393179054704</c:v>
                </c:pt>
                <c:pt idx="154">
                  <c:v>175.52003025156392</c:v>
                </c:pt>
                <c:pt idx="155">
                  <c:v>177.19234192090909</c:v>
                </c:pt>
                <c:pt idx="156">
                  <c:v>179.20856953784866</c:v>
                </c:pt>
                <c:pt idx="157">
                  <c:v>179.87879815230747</c:v>
                </c:pt>
                <c:pt idx="158">
                  <c:v>177.01239727344739</c:v>
                </c:pt>
                <c:pt idx="159">
                  <c:v>178.03077966234301</c:v>
                </c:pt>
                <c:pt idx="160">
                  <c:v>184.94789102917252</c:v>
                </c:pt>
                <c:pt idx="161">
                  <c:v>185.49457069184152</c:v>
                </c:pt>
                <c:pt idx="162">
                  <c:v>188.21688545806018</c:v>
                </c:pt>
                <c:pt idx="163">
                  <c:v>190.28298903706795</c:v>
                </c:pt>
                <c:pt idx="164">
                  <c:v>189.61178246256858</c:v>
                </c:pt>
                <c:pt idx="165">
                  <c:v>187.14145540013237</c:v>
                </c:pt>
                <c:pt idx="166">
                  <c:v>191.71048470959477</c:v>
                </c:pt>
                <c:pt idx="167">
                  <c:v>193.42224076724224</c:v>
                </c:pt>
                <c:pt idx="168">
                  <c:v>193.45288351517956</c:v>
                </c:pt>
                <c:pt idx="169">
                  <c:v>195.92712241777798</c:v>
                </c:pt>
                <c:pt idx="170">
                  <c:v>193.31173128265979</c:v>
                </c:pt>
                <c:pt idx="171">
                  <c:v>195.41564931656893</c:v>
                </c:pt>
                <c:pt idx="172">
                  <c:v>197.82566884317109</c:v>
                </c:pt>
                <c:pt idx="173">
                  <c:v>196.78348942662203</c:v>
                </c:pt>
                <c:pt idx="174">
                  <c:v>197.92639872734799</c:v>
                </c:pt>
                <c:pt idx="175">
                  <c:v>187.11635442575815</c:v>
                </c:pt>
                <c:pt idx="176">
                  <c:v>184.5498612926676</c:v>
                </c:pt>
                <c:pt idx="177">
                  <c:v>185.58356505553181</c:v>
                </c:pt>
                <c:pt idx="178">
                  <c:v>179.39210003879242</c:v>
                </c:pt>
                <c:pt idx="179">
                  <c:v>174.67605073656688</c:v>
                </c:pt>
                <c:pt idx="180">
                  <c:v>179.28876226117401</c:v>
                </c:pt>
                <c:pt idx="181">
                  <c:v>180.56793399421699</c:v>
                </c:pt>
                <c:pt idx="182">
                  <c:v>185.45154045005719</c:v>
                </c:pt>
                <c:pt idx="183">
                  <c:v>181.96348297208576</c:v>
                </c:pt>
                <c:pt idx="184">
                  <c:v>178.31406208742308</c:v>
                </c:pt>
                <c:pt idx="185">
                  <c:v>183.14844455455548</c:v>
                </c:pt>
                <c:pt idx="186">
                  <c:v>184.65580696372749</c:v>
                </c:pt>
                <c:pt idx="187">
                  <c:v>184.12184078158566</c:v>
                </c:pt>
                <c:pt idx="188">
                  <c:v>188.63056255521397</c:v>
                </c:pt>
                <c:pt idx="189">
                  <c:v>189.16550669739632</c:v>
                </c:pt>
                <c:pt idx="190">
                  <c:v>191.06503108282996</c:v>
                </c:pt>
                <c:pt idx="191">
                  <c:v>190.21844367439144</c:v>
                </c:pt>
                <c:pt idx="192">
                  <c:v>191.83435964806478</c:v>
                </c:pt>
                <c:pt idx="193">
                  <c:v>192.98085480227277</c:v>
                </c:pt>
                <c:pt idx="194">
                  <c:v>194.58438328209908</c:v>
                </c:pt>
                <c:pt idx="195">
                  <c:v>196.89008707104225</c:v>
                </c:pt>
                <c:pt idx="196">
                  <c:v>199.86569348776408</c:v>
                </c:pt>
                <c:pt idx="197">
                  <c:v>201.2292957709748</c:v>
                </c:pt>
                <c:pt idx="198">
                  <c:v>204.08102724922657</c:v>
                </c:pt>
                <c:pt idx="199">
                  <c:v>203.96008619087823</c:v>
                </c:pt>
                <c:pt idx="200">
                  <c:v>207.05565570590784</c:v>
                </c:pt>
                <c:pt idx="201">
                  <c:v>209.07057937612669</c:v>
                </c:pt>
                <c:pt idx="202">
                  <c:v>210.43124777921571</c:v>
                </c:pt>
                <c:pt idx="203">
                  <c:v>205.33216412777369</c:v>
                </c:pt>
                <c:pt idx="204">
                  <c:v>207.83574183158876</c:v>
                </c:pt>
                <c:pt idx="205">
                  <c:v>212.59384341555804</c:v>
                </c:pt>
                <c:pt idx="206">
                  <c:v>213.94342827152082</c:v>
                </c:pt>
                <c:pt idx="207">
                  <c:v>214.00275784731434</c:v>
                </c:pt>
                <c:pt idx="208">
                  <c:v>216.69540782563624</c:v>
                </c:pt>
                <c:pt idx="209">
                  <c:v>216.33128070387042</c:v>
                </c:pt>
                <c:pt idx="210">
                  <c:v>218.97861853364668</c:v>
                </c:pt>
                <c:pt idx="211">
                  <c:v>218.57080919673621</c:v>
                </c:pt>
                <c:pt idx="212">
                  <c:v>221.93401377619711</c:v>
                </c:pt>
                <c:pt idx="213">
                  <c:v>224.62535980779825</c:v>
                </c:pt>
                <c:pt idx="214">
                  <c:v>225.78913225605598</c:v>
                </c:pt>
                <c:pt idx="215">
                  <c:v>227.39494264264363</c:v>
                </c:pt>
                <c:pt idx="216">
                  <c:v>220.40774413957448</c:v>
                </c:pt>
                <c:pt idx="217">
                  <c:v>216.30552775613586</c:v>
                </c:pt>
                <c:pt idx="218">
                  <c:v>214.84152157542843</c:v>
                </c:pt>
                <c:pt idx="219">
                  <c:v>220.6261552152979</c:v>
                </c:pt>
                <c:pt idx="220">
                  <c:v>223.74519577130076</c:v>
                </c:pt>
                <c:pt idx="221">
                  <c:v>229.86266181163836</c:v>
                </c:pt>
                <c:pt idx="222">
                  <c:v>233.23955783166701</c:v>
                </c:pt>
                <c:pt idx="223">
                  <c:v>238.32560201590161</c:v>
                </c:pt>
                <c:pt idx="224">
                  <c:v>239.36647748572989</c:v>
                </c:pt>
                <c:pt idx="225">
                  <c:v>242.97156418188752</c:v>
                </c:pt>
                <c:pt idx="226">
                  <c:v>243.43739914787079</c:v>
                </c:pt>
                <c:pt idx="227">
                  <c:v>244.83718595258196</c:v>
                </c:pt>
                <c:pt idx="228">
                  <c:v>250.6912547553307</c:v>
                </c:pt>
                <c:pt idx="229">
                  <c:v>255.28734095924838</c:v>
                </c:pt>
                <c:pt idx="230">
                  <c:v>253.19874429930792</c:v>
                </c:pt>
                <c:pt idx="231">
                  <c:v>253.9103732221501</c:v>
                </c:pt>
                <c:pt idx="232">
                  <c:v>261.27473831419252</c:v>
                </c:pt>
                <c:pt idx="233">
                  <c:v>257.66639175123305</c:v>
                </c:pt>
                <c:pt idx="234">
                  <c:v>261.56910428639884</c:v>
                </c:pt>
                <c:pt idx="235">
                  <c:v>261.35590899755834</c:v>
                </c:pt>
                <c:pt idx="236">
                  <c:v>260.16051584132271</c:v>
                </c:pt>
                <c:pt idx="237">
                  <c:v>250.38515326263769</c:v>
                </c:pt>
                <c:pt idx="238">
                  <c:v>244.38667236056736</c:v>
                </c:pt>
                <c:pt idx="239">
                  <c:v>243.58311519391319</c:v>
                </c:pt>
                <c:pt idx="240">
                  <c:v>241.18874302795987</c:v>
                </c:pt>
                <c:pt idx="241">
                  <c:v>243.52476357816019</c:v>
                </c:pt>
                <c:pt idx="242">
                  <c:v>244.5780265418355</c:v>
                </c:pt>
                <c:pt idx="243">
                  <c:v>247.85875649120976</c:v>
                </c:pt>
                <c:pt idx="244">
                  <c:v>243.44685276159615</c:v>
                </c:pt>
                <c:pt idx="245">
                  <c:v>249.93659559070414</c:v>
                </c:pt>
                <c:pt idx="246">
                  <c:v>254.77032608447615</c:v>
                </c:pt>
                <c:pt idx="247">
                  <c:v>259.30056297899665</c:v>
                </c:pt>
                <c:pt idx="248">
                  <c:v>260.89561580513816</c:v>
                </c:pt>
                <c:pt idx="249">
                  <c:v>258.98370392585758</c:v>
                </c:pt>
                <c:pt idx="250">
                  <c:v>256.54043375787666</c:v>
                </c:pt>
                <c:pt idx="251">
                  <c:v>259.07563216966952</c:v>
                </c:pt>
                <c:pt idx="252">
                  <c:v>254.7012169082771</c:v>
                </c:pt>
                <c:pt idx="253">
                  <c:v>251.96684063489164</c:v>
                </c:pt>
                <c:pt idx="254">
                  <c:v>246.65293176120824</c:v>
                </c:pt>
                <c:pt idx="255">
                  <c:v>250.73624091719608</c:v>
                </c:pt>
                <c:pt idx="256">
                  <c:v>257.69638252580995</c:v>
                </c:pt>
                <c:pt idx="257">
                  <c:v>260.76033133286171</c:v>
                </c:pt>
                <c:pt idx="258">
                  <c:v>256.78198988789319</c:v>
                </c:pt>
                <c:pt idx="259">
                  <c:v>261.53194180485787</c:v>
                </c:pt>
                <c:pt idx="260">
                  <c:v>259.49061321354407</c:v>
                </c:pt>
                <c:pt idx="261">
                  <c:v>253.4931102715143</c:v>
                </c:pt>
                <c:pt idx="262">
                  <c:v>244.47468876421706</c:v>
                </c:pt>
                <c:pt idx="263">
                  <c:v>219.30199732038949</c:v>
                </c:pt>
                <c:pt idx="264">
                  <c:v>224.32805995547022</c:v>
                </c:pt>
                <c:pt idx="265">
                  <c:v>222.41582208950942</c:v>
                </c:pt>
                <c:pt idx="266">
                  <c:v>224.79878472165623</c:v>
                </c:pt>
                <c:pt idx="267">
                  <c:v>225.45662584226807</c:v>
                </c:pt>
                <c:pt idx="268">
                  <c:v>224.78085545424614</c:v>
                </c:pt>
                <c:pt idx="269">
                  <c:v>215.3076825280919</c:v>
                </c:pt>
                <c:pt idx="270">
                  <c:v>212.05074960637108</c:v>
                </c:pt>
                <c:pt idx="271">
                  <c:v>205.8729760301994</c:v>
                </c:pt>
                <c:pt idx="272">
                  <c:v>211.70813760549746</c:v>
                </c:pt>
                <c:pt idx="273">
                  <c:v>218.65784764034538</c:v>
                </c:pt>
                <c:pt idx="274">
                  <c:v>219.20811315649641</c:v>
                </c:pt>
                <c:pt idx="275">
                  <c:v>217.54558108755674</c:v>
                </c:pt>
                <c:pt idx="276">
                  <c:v>221.85186513279066</c:v>
                </c:pt>
                <c:pt idx="277">
                  <c:v>226.57052232845766</c:v>
                </c:pt>
                <c:pt idx="278">
                  <c:v>229.6282773885859</c:v>
                </c:pt>
                <c:pt idx="279">
                  <c:v>230.90907905502979</c:v>
                </c:pt>
                <c:pt idx="280">
                  <c:v>230.79628766368609</c:v>
                </c:pt>
                <c:pt idx="281">
                  <c:v>228.83058798217505</c:v>
                </c:pt>
                <c:pt idx="282">
                  <c:v>226.48869967173141</c:v>
                </c:pt>
                <c:pt idx="283">
                  <c:v>219.82455396872481</c:v>
                </c:pt>
                <c:pt idx="284">
                  <c:v>218.76672719152691</c:v>
                </c:pt>
                <c:pt idx="285">
                  <c:v>212.70533086018105</c:v>
                </c:pt>
                <c:pt idx="286">
                  <c:v>206.45127640084624</c:v>
                </c:pt>
                <c:pt idx="287">
                  <c:v>205.66434455488144</c:v>
                </c:pt>
                <c:pt idx="288">
                  <c:v>202.70666740556979</c:v>
                </c:pt>
                <c:pt idx="289">
                  <c:v>210.46417243391434</c:v>
                </c:pt>
                <c:pt idx="290">
                  <c:v>209.19249839451561</c:v>
                </c:pt>
                <c:pt idx="291">
                  <c:v>212.11953279588994</c:v>
                </c:pt>
                <c:pt idx="292">
                  <c:v>211.92980854802275</c:v>
                </c:pt>
                <c:pt idx="293">
                  <c:v>206.10507854649057</c:v>
                </c:pt>
                <c:pt idx="294">
                  <c:v>207.33633023754652</c:v>
                </c:pt>
                <c:pt idx="295">
                  <c:v>207.42369466783589</c:v>
                </c:pt>
                <c:pt idx="296">
                  <c:v>202.90225941368035</c:v>
                </c:pt>
                <c:pt idx="297">
                  <c:v>195.22201322853948</c:v>
                </c:pt>
                <c:pt idx="298">
                  <c:v>198.62792206310448</c:v>
                </c:pt>
                <c:pt idx="299">
                  <c:v>188.43366660038271</c:v>
                </c:pt>
                <c:pt idx="300">
                  <c:v>164.02704385498808</c:v>
                </c:pt>
                <c:pt idx="301">
                  <c:v>159.9121139910223</c:v>
                </c:pt>
                <c:pt idx="302">
                  <c:v>149.99201332633547</c:v>
                </c:pt>
                <c:pt idx="303">
                  <c:v>155.32613337419033</c:v>
                </c:pt>
                <c:pt idx="304">
                  <c:v>164.45213048594835</c:v>
                </c:pt>
                <c:pt idx="305">
                  <c:v>154.95874638562265</c:v>
                </c:pt>
                <c:pt idx="306">
                  <c:v>142.38055033071348</c:v>
                </c:pt>
                <c:pt idx="307">
                  <c:v>150.01874423411059</c:v>
                </c:pt>
                <c:pt idx="308">
                  <c:v>146.2995621998885</c:v>
                </c:pt>
                <c:pt idx="309">
                  <c:v>154.71621229556561</c:v>
                </c:pt>
                <c:pt idx="310">
                  <c:v>153.51495137908665</c:v>
                </c:pt>
                <c:pt idx="311">
                  <c:v>150.97421119373061</c:v>
                </c:pt>
                <c:pt idx="312">
                  <c:v>157.1809975844387</c:v>
                </c:pt>
                <c:pt idx="313">
                  <c:v>160.46074957377243</c:v>
                </c:pt>
                <c:pt idx="314">
                  <c:v>146.57599890468475</c:v>
                </c:pt>
                <c:pt idx="315">
                  <c:v>138.31940826897812</c:v>
                </c:pt>
                <c:pt idx="316">
                  <c:v>143.01329047695111</c:v>
                </c:pt>
                <c:pt idx="317">
                  <c:v>145.35028898719199</c:v>
                </c:pt>
                <c:pt idx="318">
                  <c:v>146.84656784923769</c:v>
                </c:pt>
                <c:pt idx="319">
                  <c:v>137.03208686893052</c:v>
                </c:pt>
                <c:pt idx="320">
                  <c:v>126.9049846623267</c:v>
                </c:pt>
                <c:pt idx="321">
                  <c:v>121.61682873637783</c:v>
                </c:pt>
                <c:pt idx="322">
                  <c:v>126.50206512561897</c:v>
                </c:pt>
                <c:pt idx="323">
                  <c:v>131.31297655177809</c:v>
                </c:pt>
                <c:pt idx="324">
                  <c:v>137.23974038420786</c:v>
                </c:pt>
                <c:pt idx="325">
                  <c:v>136.73152714980066</c:v>
                </c:pt>
                <c:pt idx="326">
                  <c:v>143.51530996443483</c:v>
                </c:pt>
                <c:pt idx="327">
                  <c:v>149.19888773344721</c:v>
                </c:pt>
                <c:pt idx="328">
                  <c:v>148.61634953595797</c:v>
                </c:pt>
                <c:pt idx="329">
                  <c:v>153.50680171208205</c:v>
                </c:pt>
                <c:pt idx="330">
                  <c:v>158.78289613086409</c:v>
                </c:pt>
                <c:pt idx="331">
                  <c:v>155.98201857472102</c:v>
                </c:pt>
                <c:pt idx="332">
                  <c:v>160.84117602954743</c:v>
                </c:pt>
                <c:pt idx="333">
                  <c:v>161.5492190989076</c:v>
                </c:pt>
                <c:pt idx="334">
                  <c:v>166.14204543602349</c:v>
                </c:pt>
                <c:pt idx="335">
                  <c:v>164.4945087543723</c:v>
                </c:pt>
                <c:pt idx="336">
                  <c:v>158.15276387806793</c:v>
                </c:pt>
                <c:pt idx="337">
                  <c:v>155.25800215803181</c:v>
                </c:pt>
                <c:pt idx="338">
                  <c:v>156.64214160209414</c:v>
                </c:pt>
                <c:pt idx="339">
                  <c:v>150.14294515926079</c:v>
                </c:pt>
                <c:pt idx="340">
                  <c:v>158.87319444127513</c:v>
                </c:pt>
                <c:pt idx="341">
                  <c:v>167.70254367406548</c:v>
                </c:pt>
                <c:pt idx="342">
                  <c:v>172.0518579610837</c:v>
                </c:pt>
                <c:pt idx="343">
                  <c:v>176.20101642646878</c:v>
                </c:pt>
                <c:pt idx="344">
                  <c:v>174.49545411574482</c:v>
                </c:pt>
                <c:pt idx="345">
                  <c:v>172.49976365965685</c:v>
                </c:pt>
                <c:pt idx="346">
                  <c:v>179.85663105805497</c:v>
                </c:pt>
                <c:pt idx="347">
                  <c:v>174.71321321810791</c:v>
                </c:pt>
                <c:pt idx="348">
                  <c:v>180.84632661909433</c:v>
                </c:pt>
                <c:pt idx="349">
                  <c:v>185.05905248711539</c:v>
                </c:pt>
                <c:pt idx="350">
                  <c:v>184.29135385528147</c:v>
                </c:pt>
                <c:pt idx="351">
                  <c:v>183.51354963636183</c:v>
                </c:pt>
                <c:pt idx="352">
                  <c:v>184.08891612688706</c:v>
                </c:pt>
                <c:pt idx="353">
                  <c:v>188.58851027347021</c:v>
                </c:pt>
                <c:pt idx="354">
                  <c:v>189.07879424046732</c:v>
                </c:pt>
                <c:pt idx="355">
                  <c:v>181.0911426159127</c:v>
                </c:pt>
                <c:pt idx="356">
                  <c:v>177.32078067290172</c:v>
                </c:pt>
                <c:pt idx="357">
                  <c:v>184.19583975798747</c:v>
                </c:pt>
                <c:pt idx="358">
                  <c:v>187.35204279553136</c:v>
                </c:pt>
                <c:pt idx="359">
                  <c:v>186.94390747194069</c:v>
                </c:pt>
                <c:pt idx="360">
                  <c:v>187.58740517862438</c:v>
                </c:pt>
                <c:pt idx="361">
                  <c:v>186.37603867505973</c:v>
                </c:pt>
                <c:pt idx="362">
                  <c:v>190.32830118561355</c:v>
                </c:pt>
                <c:pt idx="363">
                  <c:v>193.95229510922184</c:v>
                </c:pt>
                <c:pt idx="364">
                  <c:v>194.20460879968445</c:v>
                </c:pt>
                <c:pt idx="365">
                  <c:v>194.20460879968445</c:v>
                </c:pt>
                <c:pt idx="366">
                  <c:v>195.6871962211624</c:v>
                </c:pt>
                <c:pt idx="367">
                  <c:v>195.96852272616141</c:v>
                </c:pt>
                <c:pt idx="368">
                  <c:v>194.20428281300426</c:v>
                </c:pt>
                <c:pt idx="369">
                  <c:v>194.20428281300426</c:v>
                </c:pt>
                <c:pt idx="370">
                  <c:v>194.20428281300426</c:v>
                </c:pt>
                <c:pt idx="371">
                  <c:v>197.16652377583853</c:v>
                </c:pt>
                <c:pt idx="372">
                  <c:v>196.63060167361559</c:v>
                </c:pt>
                <c:pt idx="373">
                  <c:v>196.71112038362111</c:v>
                </c:pt>
                <c:pt idx="374">
                  <c:v>196.22311832338528</c:v>
                </c:pt>
                <c:pt idx="375">
                  <c:v>196.81804401472155</c:v>
                </c:pt>
                <c:pt idx="376">
                  <c:v>196.9122541652948</c:v>
                </c:pt>
                <c:pt idx="377">
                  <c:v>193.73388403349838</c:v>
                </c:pt>
                <c:pt idx="378">
                  <c:v>194.39042120738947</c:v>
                </c:pt>
                <c:pt idx="379">
                  <c:v>195.22951092218372</c:v>
                </c:pt>
                <c:pt idx="380">
                  <c:v>191.54879531622336</c:v>
                </c:pt>
                <c:pt idx="381">
                  <c:v>192.93684660044789</c:v>
                </c:pt>
                <c:pt idx="382">
                  <c:v>194.82528743875525</c:v>
                </c:pt>
                <c:pt idx="383">
                  <c:v>190.75208386985304</c:v>
                </c:pt>
                <c:pt idx="384">
                  <c:v>187.34356714184659</c:v>
                </c:pt>
                <c:pt idx="385">
                  <c:v>185.65984593869493</c:v>
                </c:pt>
                <c:pt idx="386">
                  <c:v>183.57516111891667</c:v>
                </c:pt>
                <c:pt idx="387">
                  <c:v>184.79956708968871</c:v>
                </c:pt>
                <c:pt idx="388">
                  <c:v>183.96080336157462</c:v>
                </c:pt>
                <c:pt idx="389">
                  <c:v>180.60737838251927</c:v>
                </c:pt>
                <c:pt idx="390">
                  <c:v>182.83908319506062</c:v>
                </c:pt>
                <c:pt idx="391">
                  <c:v>184.32851633682247</c:v>
                </c:pt>
                <c:pt idx="392">
                  <c:v>186.12731083807915</c:v>
                </c:pt>
                <c:pt idx="393">
                  <c:v>184.90257888062695</c:v>
                </c:pt>
                <c:pt idx="394">
                  <c:v>180.37625382626865</c:v>
                </c:pt>
                <c:pt idx="395">
                  <c:v>177.15224555924644</c:v>
                </c:pt>
                <c:pt idx="396">
                  <c:v>178.79880428085707</c:v>
                </c:pt>
                <c:pt idx="397">
                  <c:v>179.23595241898417</c:v>
                </c:pt>
                <c:pt idx="398">
                  <c:v>180.47828765716631</c:v>
                </c:pt>
                <c:pt idx="399">
                  <c:v>179.42078686664865</c:v>
                </c:pt>
                <c:pt idx="400">
                  <c:v>179.30538758186341</c:v>
                </c:pt>
                <c:pt idx="401">
                  <c:v>179.65451931634072</c:v>
                </c:pt>
                <c:pt idx="402">
                  <c:v>182.2956633991935</c:v>
                </c:pt>
                <c:pt idx="403">
                  <c:v>184.12836051518934</c:v>
                </c:pt>
                <c:pt idx="404">
                  <c:v>185.17379979854022</c:v>
                </c:pt>
                <c:pt idx="405">
                  <c:v>186.53120833482743</c:v>
                </c:pt>
                <c:pt idx="406">
                  <c:v>185.43556710272819</c:v>
                </c:pt>
                <c:pt idx="407">
                  <c:v>182.68521748201368</c:v>
                </c:pt>
                <c:pt idx="408">
                  <c:v>183.05814624414447</c:v>
                </c:pt>
                <c:pt idx="409">
                  <c:v>180.34658903837189</c:v>
                </c:pt>
                <c:pt idx="410">
                  <c:v>182.50233895443031</c:v>
                </c:pt>
                <c:pt idx="411">
                  <c:v>186.25281570995008</c:v>
                </c:pt>
                <c:pt idx="412">
                  <c:v>188.30816172851178</c:v>
                </c:pt>
                <c:pt idx="413">
                  <c:v>189.65513869103307</c:v>
                </c:pt>
                <c:pt idx="414">
                  <c:v>188.91971274053739</c:v>
                </c:pt>
                <c:pt idx="415">
                  <c:v>191.59410746476897</c:v>
                </c:pt>
                <c:pt idx="416">
                  <c:v>191.54683939614225</c:v>
                </c:pt>
                <c:pt idx="417">
                  <c:v>191.87217410296614</c:v>
                </c:pt>
                <c:pt idx="418">
                  <c:v>193.52916439834269</c:v>
                </c:pt>
                <c:pt idx="419">
                  <c:v>193.26544117407363</c:v>
                </c:pt>
                <c:pt idx="420">
                  <c:v>193.80266722301724</c:v>
                </c:pt>
                <c:pt idx="421">
                  <c:v>192.44819256685173</c:v>
                </c:pt>
                <c:pt idx="422">
                  <c:v>194.64632075133409</c:v>
                </c:pt>
                <c:pt idx="423">
                  <c:v>196.38350377003596</c:v>
                </c:pt>
                <c:pt idx="424">
                  <c:v>195.99329771385541</c:v>
                </c:pt>
                <c:pt idx="425">
                  <c:v>195.01924951346487</c:v>
                </c:pt>
                <c:pt idx="426">
                  <c:v>195.18452476031828</c:v>
                </c:pt>
                <c:pt idx="427">
                  <c:v>196.15498710722682</c:v>
                </c:pt>
                <c:pt idx="428">
                  <c:v>196.86335616326716</c:v>
                </c:pt>
                <c:pt idx="429">
                  <c:v>199.92600102359816</c:v>
                </c:pt>
                <c:pt idx="430">
                  <c:v>199.50547820616049</c:v>
                </c:pt>
                <c:pt idx="431">
                  <c:v>200.70510918923853</c:v>
                </c:pt>
                <c:pt idx="432">
                  <c:v>200.23568836977321</c:v>
                </c:pt>
                <c:pt idx="433">
                  <c:v>200.59753358477775</c:v>
                </c:pt>
                <c:pt idx="434">
                  <c:v>203.27095034896874</c:v>
                </c:pt>
                <c:pt idx="435">
                  <c:v>203.27095034896874</c:v>
                </c:pt>
                <c:pt idx="436">
                  <c:v>203.27095034896874</c:v>
                </c:pt>
                <c:pt idx="437">
                  <c:v>203.8137181714755</c:v>
                </c:pt>
                <c:pt idx="438">
                  <c:v>202.84227786452641</c:v>
                </c:pt>
                <c:pt idx="439">
                  <c:v>201.19343723615452</c:v>
                </c:pt>
                <c:pt idx="440">
                  <c:v>203.73189551474925</c:v>
                </c:pt>
                <c:pt idx="441">
                  <c:v>203.76416819608752</c:v>
                </c:pt>
                <c:pt idx="442">
                  <c:v>203.1167586492416</c:v>
                </c:pt>
                <c:pt idx="443">
                  <c:v>204.6674772868781</c:v>
                </c:pt>
                <c:pt idx="444">
                  <c:v>205.09288990451847</c:v>
                </c:pt>
                <c:pt idx="445">
                  <c:v>201.48910715508163</c:v>
                </c:pt>
                <c:pt idx="446">
                  <c:v>200.88733574346151</c:v>
                </c:pt>
                <c:pt idx="447">
                  <c:v>204.20555416105697</c:v>
                </c:pt>
                <c:pt idx="448">
                  <c:v>203.10208924863332</c:v>
                </c:pt>
                <c:pt idx="449">
                  <c:v>201.09205537861726</c:v>
                </c:pt>
                <c:pt idx="450">
                  <c:v>204.05234042137036</c:v>
                </c:pt>
                <c:pt idx="451">
                  <c:v>206.41802575946747</c:v>
                </c:pt>
                <c:pt idx="452">
                  <c:v>200.79182164616753</c:v>
                </c:pt>
                <c:pt idx="453">
                  <c:v>198.34137977122253</c:v>
                </c:pt>
                <c:pt idx="454">
                  <c:v>200.31588109309851</c:v>
                </c:pt>
                <c:pt idx="455">
                  <c:v>200.01564736064884</c:v>
                </c:pt>
                <c:pt idx="456">
                  <c:v>201.03337777618404</c:v>
                </c:pt>
                <c:pt idx="457">
                  <c:v>195.81563497315497</c:v>
                </c:pt>
                <c:pt idx="458">
                  <c:v>194.23753345438303</c:v>
                </c:pt>
                <c:pt idx="459">
                  <c:v>192.60140630653831</c:v>
                </c:pt>
                <c:pt idx="460">
                  <c:v>186.3043216054192</c:v>
                </c:pt>
                <c:pt idx="461">
                  <c:v>196.17585025475859</c:v>
                </c:pt>
                <c:pt idx="462">
                  <c:v>196.82130388152339</c:v>
                </c:pt>
                <c:pt idx="463">
                  <c:v>201.57353770524935</c:v>
                </c:pt>
                <c:pt idx="464">
                  <c:v>203.80589449115107</c:v>
                </c:pt>
                <c:pt idx="465">
                  <c:v>197.44067857387347</c:v>
                </c:pt>
                <c:pt idx="466">
                  <c:v>197.7735109743416</c:v>
                </c:pt>
                <c:pt idx="467">
                  <c:v>200.67511841466157</c:v>
                </c:pt>
                <c:pt idx="468">
                  <c:v>195.22266520189984</c:v>
                </c:pt>
                <c:pt idx="469">
                  <c:v>191.28507209195431</c:v>
                </c:pt>
                <c:pt idx="470">
                  <c:v>190.02578554640257</c:v>
                </c:pt>
                <c:pt idx="471">
                  <c:v>189.25743494120832</c:v>
                </c:pt>
                <c:pt idx="472">
                  <c:v>184.83575161118915</c:v>
                </c:pt>
                <c:pt idx="473">
                  <c:v>187.70378242345018</c:v>
                </c:pt>
                <c:pt idx="474">
                  <c:v>193.54285583891041</c:v>
                </c:pt>
                <c:pt idx="475">
                  <c:v>193.83754779779699</c:v>
                </c:pt>
                <c:pt idx="476">
                  <c:v>194.42921362233139</c:v>
                </c:pt>
                <c:pt idx="477">
                  <c:v>194.98143505856351</c:v>
                </c:pt>
                <c:pt idx="478">
                  <c:v>194.97915315180222</c:v>
                </c:pt>
                <c:pt idx="479">
                  <c:v>197.37287334439515</c:v>
                </c:pt>
                <c:pt idx="480">
                  <c:v>193.59957752126246</c:v>
                </c:pt>
                <c:pt idx="481">
                  <c:v>192.49350471539734</c:v>
                </c:pt>
                <c:pt idx="482">
                  <c:v>191.30691319952666</c:v>
                </c:pt>
                <c:pt idx="483">
                  <c:v>195.09487842326763</c:v>
                </c:pt>
                <c:pt idx="484">
                  <c:v>197.43676673371127</c:v>
                </c:pt>
                <c:pt idx="485">
                  <c:v>197.15120240186985</c:v>
                </c:pt>
                <c:pt idx="486">
                  <c:v>199.6668416128517</c:v>
                </c:pt>
                <c:pt idx="487">
                  <c:v>201.29840494717385</c:v>
                </c:pt>
                <c:pt idx="488">
                  <c:v>201.81541982194605</c:v>
                </c:pt>
                <c:pt idx="489">
                  <c:v>202.87911435938727</c:v>
                </c:pt>
                <c:pt idx="490">
                  <c:v>202.66526709718642</c:v>
                </c:pt>
                <c:pt idx="491">
                  <c:v>205.14243987990653</c:v>
                </c:pt>
                <c:pt idx="492">
                  <c:v>204.36235375422558</c:v>
                </c:pt>
                <c:pt idx="493">
                  <c:v>202.25908769367683</c:v>
                </c:pt>
                <c:pt idx="494">
                  <c:v>199.35650229331628</c:v>
                </c:pt>
                <c:pt idx="495">
                  <c:v>197.89347407264938</c:v>
                </c:pt>
                <c:pt idx="496">
                  <c:v>200.71717069640536</c:v>
                </c:pt>
                <c:pt idx="497">
                  <c:v>194.02825000570476</c:v>
                </c:pt>
                <c:pt idx="498">
                  <c:v>194.46800603727331</c:v>
                </c:pt>
                <c:pt idx="499">
                  <c:v>190.94441601116179</c:v>
                </c:pt>
                <c:pt idx="500">
                  <c:v>190.18551901969286</c:v>
                </c:pt>
                <c:pt idx="501">
                  <c:v>189.60037292876211</c:v>
                </c:pt>
                <c:pt idx="502">
                  <c:v>193.66803472410118</c:v>
                </c:pt>
                <c:pt idx="503">
                  <c:v>195.35925362089702</c:v>
                </c:pt>
                <c:pt idx="504">
                  <c:v>196.75447661208563</c:v>
                </c:pt>
                <c:pt idx="505">
                  <c:v>197.71874521207062</c:v>
                </c:pt>
                <c:pt idx="506">
                  <c:v>198.10829929489083</c:v>
                </c:pt>
                <c:pt idx="507">
                  <c:v>201.82259152891012</c:v>
                </c:pt>
                <c:pt idx="508">
                  <c:v>202.4299047140934</c:v>
                </c:pt>
                <c:pt idx="509">
                  <c:v>200.46094516578052</c:v>
                </c:pt>
                <c:pt idx="510">
                  <c:v>196.90475647165059</c:v>
                </c:pt>
                <c:pt idx="511">
                  <c:v>195.88898197619645</c:v>
                </c:pt>
                <c:pt idx="512">
                  <c:v>194.5322254132696</c:v>
                </c:pt>
                <c:pt idx="513">
                  <c:v>195.27840892421136</c:v>
                </c:pt>
                <c:pt idx="514">
                  <c:v>200.22590876936766</c:v>
                </c:pt>
                <c:pt idx="515">
                  <c:v>201.01447054873339</c:v>
                </c:pt>
                <c:pt idx="516">
                  <c:v>201.92299542640689</c:v>
                </c:pt>
                <c:pt idx="517">
                  <c:v>202.35003797744824</c:v>
                </c:pt>
                <c:pt idx="518">
                  <c:v>201.42521376576553</c:v>
                </c:pt>
                <c:pt idx="519">
                  <c:v>199.9830486926304</c:v>
                </c:pt>
                <c:pt idx="520">
                  <c:v>200.41563301723491</c:v>
                </c:pt>
                <c:pt idx="521">
                  <c:v>205.11505699877102</c:v>
                </c:pt>
                <c:pt idx="522">
                  <c:v>205.62946398010178</c:v>
                </c:pt>
                <c:pt idx="523">
                  <c:v>206.39292478509327</c:v>
                </c:pt>
                <c:pt idx="524">
                  <c:v>206.46627178813475</c:v>
                </c:pt>
                <c:pt idx="525">
                  <c:v>204.0556002881722</c:v>
                </c:pt>
                <c:pt idx="526">
                  <c:v>207.05369978582678</c:v>
                </c:pt>
                <c:pt idx="527">
                  <c:v>204.92337683082269</c:v>
                </c:pt>
                <c:pt idx="528">
                  <c:v>200.61448489214732</c:v>
                </c:pt>
                <c:pt idx="529">
                  <c:v>199.99837006659905</c:v>
                </c:pt>
                <c:pt idx="530">
                  <c:v>199.19122704646287</c:v>
                </c:pt>
                <c:pt idx="531">
                  <c:v>199.1964428333458</c:v>
                </c:pt>
                <c:pt idx="532">
                  <c:v>202.3203731895515</c:v>
                </c:pt>
                <c:pt idx="533">
                  <c:v>201.66546594906131</c:v>
                </c:pt>
                <c:pt idx="534">
                  <c:v>198.04114603877287</c:v>
                </c:pt>
                <c:pt idx="535">
                  <c:v>195.76021723752365</c:v>
                </c:pt>
                <c:pt idx="536">
                  <c:v>195.94765957862961</c:v>
                </c:pt>
                <c:pt idx="537">
                  <c:v>193.48743810327912</c:v>
                </c:pt>
                <c:pt idx="538">
                  <c:v>192.31584197469692</c:v>
                </c:pt>
                <c:pt idx="539">
                  <c:v>192.74223255237791</c:v>
                </c:pt>
                <c:pt idx="540">
                  <c:v>194.00021515120892</c:v>
                </c:pt>
                <c:pt idx="541">
                  <c:v>192.73669077881476</c:v>
                </c:pt>
                <c:pt idx="542">
                  <c:v>193.15427971613079</c:v>
                </c:pt>
                <c:pt idx="543">
                  <c:v>198.32703635729445</c:v>
                </c:pt>
                <c:pt idx="544">
                  <c:v>198.32540642389353</c:v>
                </c:pt>
                <c:pt idx="545">
                  <c:v>199.98044079918893</c:v>
                </c:pt>
                <c:pt idx="546">
                  <c:v>200.6461056001252</c:v>
                </c:pt>
                <c:pt idx="547">
                  <c:v>199.43506508324069</c:v>
                </c:pt>
                <c:pt idx="548">
                  <c:v>200.95253307949838</c:v>
                </c:pt>
                <c:pt idx="549">
                  <c:v>202.81326504999004</c:v>
                </c:pt>
                <c:pt idx="550">
                  <c:v>202.59322404086569</c:v>
                </c:pt>
                <c:pt idx="551">
                  <c:v>204.12242755761</c:v>
                </c:pt>
                <c:pt idx="552">
                  <c:v>204.57000726950295</c:v>
                </c:pt>
                <c:pt idx="553">
                  <c:v>204.12862130453345</c:v>
                </c:pt>
                <c:pt idx="554">
                  <c:v>203.73026558134833</c:v>
                </c:pt>
                <c:pt idx="555">
                  <c:v>202.4299047140934</c:v>
                </c:pt>
                <c:pt idx="556">
                  <c:v>205.19492373541618</c:v>
                </c:pt>
                <c:pt idx="557">
                  <c:v>204.5885885102735</c:v>
                </c:pt>
                <c:pt idx="558">
                  <c:v>202.38328861882704</c:v>
                </c:pt>
                <c:pt idx="559">
                  <c:v>201.61330808023186</c:v>
                </c:pt>
                <c:pt idx="560">
                  <c:v>205.31619078044469</c:v>
                </c:pt>
                <c:pt idx="561">
                  <c:v>204.68345063420711</c:v>
                </c:pt>
                <c:pt idx="562">
                  <c:v>204.5921743637555</c:v>
                </c:pt>
                <c:pt idx="563">
                  <c:v>203.64127121765802</c:v>
                </c:pt>
                <c:pt idx="564">
                  <c:v>203.05775506012824</c:v>
                </c:pt>
                <c:pt idx="565">
                  <c:v>202.48141060956249</c:v>
                </c:pt>
                <c:pt idx="566">
                  <c:v>199.9670753453014</c:v>
                </c:pt>
                <c:pt idx="567">
                  <c:v>202.62777862896519</c:v>
                </c:pt>
                <c:pt idx="568">
                  <c:v>204.41744550317674</c:v>
                </c:pt>
                <c:pt idx="569">
                  <c:v>204.59739015063843</c:v>
                </c:pt>
                <c:pt idx="570">
                  <c:v>205.10006161148254</c:v>
                </c:pt>
                <c:pt idx="571">
                  <c:v>205.68162184893123</c:v>
                </c:pt>
                <c:pt idx="572">
                  <c:v>205.52058442892022</c:v>
                </c:pt>
                <c:pt idx="573">
                  <c:v>209.75678133791456</c:v>
                </c:pt>
                <c:pt idx="574">
                  <c:v>210.43320369929685</c:v>
                </c:pt>
                <c:pt idx="575">
                  <c:v>211.6403323760191</c:v>
                </c:pt>
                <c:pt idx="576">
                  <c:v>212.43345796890739</c:v>
                </c:pt>
                <c:pt idx="577">
                  <c:v>211.58784852050948</c:v>
                </c:pt>
                <c:pt idx="578">
                  <c:v>212.6916394196133</c:v>
                </c:pt>
                <c:pt idx="579">
                  <c:v>215.51012025648632</c:v>
                </c:pt>
                <c:pt idx="580">
                  <c:v>215.34158514283104</c:v>
                </c:pt>
                <c:pt idx="581">
                  <c:v>216.4294026946059</c:v>
                </c:pt>
                <c:pt idx="582">
                  <c:v>215.60107054025769</c:v>
                </c:pt>
                <c:pt idx="583">
                  <c:v>214.10805154501386</c:v>
                </c:pt>
                <c:pt idx="584">
                  <c:v>214.99734320855649</c:v>
                </c:pt>
                <c:pt idx="585">
                  <c:v>215.1958690967887</c:v>
                </c:pt>
                <c:pt idx="586">
                  <c:v>215.30963844817302</c:v>
                </c:pt>
                <c:pt idx="587">
                  <c:v>216.92164258168413</c:v>
                </c:pt>
                <c:pt idx="588">
                  <c:v>215.73146521233144</c:v>
                </c:pt>
                <c:pt idx="589">
                  <c:v>219.54192351700513</c:v>
                </c:pt>
                <c:pt idx="590">
                  <c:v>220.17792353004455</c:v>
                </c:pt>
                <c:pt idx="591">
                  <c:v>220.05730845837638</c:v>
                </c:pt>
                <c:pt idx="592">
                  <c:v>221.27356476214382</c:v>
                </c:pt>
                <c:pt idx="593">
                  <c:v>219.05783329693148</c:v>
                </c:pt>
                <c:pt idx="594">
                  <c:v>219.17421054175725</c:v>
                </c:pt>
                <c:pt idx="595">
                  <c:v>219.53931562356362</c:v>
                </c:pt>
                <c:pt idx="596">
                  <c:v>221.35049761866728</c:v>
                </c:pt>
                <c:pt idx="597">
                  <c:v>217.21274868708863</c:v>
                </c:pt>
                <c:pt idx="598">
                  <c:v>218.4133576302072</c:v>
                </c:pt>
                <c:pt idx="599">
                  <c:v>222.71768575536007</c:v>
                </c:pt>
                <c:pt idx="600">
                  <c:v>223.09061451749082</c:v>
                </c:pt>
                <c:pt idx="601">
                  <c:v>222.38974315509469</c:v>
                </c:pt>
                <c:pt idx="602">
                  <c:v>218.57406906353805</c:v>
                </c:pt>
                <c:pt idx="603">
                  <c:v>222.44679082412691</c:v>
                </c:pt>
                <c:pt idx="604">
                  <c:v>224.26775241963611</c:v>
                </c:pt>
                <c:pt idx="605">
                  <c:v>223.26762528483087</c:v>
                </c:pt>
                <c:pt idx="606">
                  <c:v>218.34490042736854</c:v>
                </c:pt>
                <c:pt idx="607">
                  <c:v>218.03586505455382</c:v>
                </c:pt>
                <c:pt idx="608">
                  <c:v>223.84299177535607</c:v>
                </c:pt>
                <c:pt idx="609">
                  <c:v>226.80881859167235</c:v>
                </c:pt>
                <c:pt idx="610">
                  <c:v>226.48641776497013</c:v>
                </c:pt>
                <c:pt idx="611">
                  <c:v>226.70352489397283</c:v>
                </c:pt>
                <c:pt idx="612">
                  <c:v>228.25293958488854</c:v>
                </c:pt>
                <c:pt idx="613">
                  <c:v>227.40407026968876</c:v>
                </c:pt>
                <c:pt idx="614">
                  <c:v>227.02233986719301</c:v>
                </c:pt>
                <c:pt idx="615">
                  <c:v>228.39180991064705</c:v>
                </c:pt>
                <c:pt idx="616">
                  <c:v>229.14875098203487</c:v>
                </c:pt>
                <c:pt idx="617">
                  <c:v>229.08387963267822</c:v>
                </c:pt>
                <c:pt idx="618">
                  <c:v>228.72431632443497</c:v>
                </c:pt>
                <c:pt idx="619">
                  <c:v>228.98608362862296</c:v>
                </c:pt>
                <c:pt idx="620">
                  <c:v>227.61856950524998</c:v>
                </c:pt>
                <c:pt idx="621">
                  <c:v>228.79701135411605</c:v>
                </c:pt>
                <c:pt idx="622">
                  <c:v>230.7330462477303</c:v>
                </c:pt>
                <c:pt idx="623">
                  <c:v>230.40477766078476</c:v>
                </c:pt>
                <c:pt idx="624">
                  <c:v>230.07129328695629</c:v>
                </c:pt>
                <c:pt idx="625">
                  <c:v>230.07129328695629</c:v>
                </c:pt>
                <c:pt idx="626">
                  <c:v>227.23651311607406</c:v>
                </c:pt>
                <c:pt idx="627">
                  <c:v>227.28117329125931</c:v>
                </c:pt>
                <c:pt idx="628">
                  <c:v>228.04300416284988</c:v>
                </c:pt>
                <c:pt idx="629">
                  <c:v>225.39338442631234</c:v>
                </c:pt>
                <c:pt idx="630">
                  <c:v>225.39338442631234</c:v>
                </c:pt>
                <c:pt idx="631">
                  <c:v>227.85621379510431</c:v>
                </c:pt>
                <c:pt idx="632">
                  <c:v>227.38711896231919</c:v>
                </c:pt>
                <c:pt idx="633">
                  <c:v>226.22888828762453</c:v>
                </c:pt>
                <c:pt idx="634">
                  <c:v>227.58401491715051</c:v>
                </c:pt>
                <c:pt idx="635">
                  <c:v>226.49032960513233</c:v>
                </c:pt>
                <c:pt idx="636">
                  <c:v>223.53102252241973</c:v>
                </c:pt>
                <c:pt idx="637">
                  <c:v>226.28593595665677</c:v>
                </c:pt>
                <c:pt idx="638">
                  <c:v>230.43281251528063</c:v>
                </c:pt>
                <c:pt idx="639">
                  <c:v>230.63916208383728</c:v>
                </c:pt>
                <c:pt idx="640">
                  <c:v>230.65839529796813</c:v>
                </c:pt>
                <c:pt idx="641">
                  <c:v>230.73532815449164</c:v>
                </c:pt>
                <c:pt idx="642">
                  <c:v>232.8669550562164</c:v>
                </c:pt>
                <c:pt idx="643">
                  <c:v>230.88854189417822</c:v>
                </c:pt>
                <c:pt idx="644">
                  <c:v>228.98184580178054</c:v>
                </c:pt>
                <c:pt idx="645">
                  <c:v>230.22548498668343</c:v>
                </c:pt>
                <c:pt idx="646">
                  <c:v>230.399887860582</c:v>
                </c:pt>
                <c:pt idx="647">
                  <c:v>230.11432352874061</c:v>
                </c:pt>
                <c:pt idx="648">
                  <c:v>232.34211650111979</c:v>
                </c:pt>
                <c:pt idx="649">
                  <c:v>233.26237689927987</c:v>
                </c:pt>
                <c:pt idx="650">
                  <c:v>231.54181920126743</c:v>
                </c:pt>
                <c:pt idx="651">
                  <c:v>230.71642092704093</c:v>
                </c:pt>
                <c:pt idx="652">
                  <c:v>234.19763268472852</c:v>
                </c:pt>
                <c:pt idx="653">
                  <c:v>234.17807348391744</c:v>
                </c:pt>
                <c:pt idx="654">
                  <c:v>234.5043861507819</c:v>
                </c:pt>
                <c:pt idx="655">
                  <c:v>235.23883414123699</c:v>
                </c:pt>
                <c:pt idx="656">
                  <c:v>237.43631035235899</c:v>
                </c:pt>
                <c:pt idx="657">
                  <c:v>238.72786957924896</c:v>
                </c:pt>
                <c:pt idx="658">
                  <c:v>238.65158869608587</c:v>
                </c:pt>
                <c:pt idx="659">
                  <c:v>239.28335088228292</c:v>
                </c:pt>
                <c:pt idx="660">
                  <c:v>240.29130169741265</c:v>
                </c:pt>
                <c:pt idx="661">
                  <c:v>241.12028582512119</c:v>
                </c:pt>
                <c:pt idx="662">
                  <c:v>241.23144728306397</c:v>
                </c:pt>
                <c:pt idx="663">
                  <c:v>241.69630428900675</c:v>
                </c:pt>
                <c:pt idx="664">
                  <c:v>241.4097619971248</c:v>
                </c:pt>
                <c:pt idx="665">
                  <c:v>242.10411362591725</c:v>
                </c:pt>
                <c:pt idx="666">
                  <c:v>238.68125348398266</c:v>
                </c:pt>
                <c:pt idx="667">
                  <c:v>238.5684620926389</c:v>
                </c:pt>
                <c:pt idx="668">
                  <c:v>234.5343769253588</c:v>
                </c:pt>
                <c:pt idx="669">
                  <c:v>232.44480230537778</c:v>
                </c:pt>
                <c:pt idx="670">
                  <c:v>234.22697148594506</c:v>
                </c:pt>
                <c:pt idx="671">
                  <c:v>237.0679454037508</c:v>
                </c:pt>
                <c:pt idx="672">
                  <c:v>235.46995869748764</c:v>
                </c:pt>
                <c:pt idx="673">
                  <c:v>234.09494688047045</c:v>
                </c:pt>
                <c:pt idx="674">
                  <c:v>235.55667115441662</c:v>
                </c:pt>
                <c:pt idx="675">
                  <c:v>234.02257783746956</c:v>
                </c:pt>
                <c:pt idx="676">
                  <c:v>233.46937844119688</c:v>
                </c:pt>
                <c:pt idx="677">
                  <c:v>233.56130668500884</c:v>
                </c:pt>
                <c:pt idx="678">
                  <c:v>232.48718057380177</c:v>
                </c:pt>
                <c:pt idx="679">
                  <c:v>230.24732609425578</c:v>
                </c:pt>
                <c:pt idx="680">
                  <c:v>227.58727478395232</c:v>
                </c:pt>
                <c:pt idx="681">
                  <c:v>223.84299177535607</c:v>
                </c:pt>
                <c:pt idx="682">
                  <c:v>216.70486143936159</c:v>
                </c:pt>
                <c:pt idx="683">
                  <c:v>212.34250768513596</c:v>
                </c:pt>
                <c:pt idx="684">
                  <c:v>217.00542115849143</c:v>
                </c:pt>
                <c:pt idx="685">
                  <c:v>217.25056314199</c:v>
                </c:pt>
                <c:pt idx="686">
                  <c:v>222.19643305374541</c:v>
                </c:pt>
                <c:pt idx="687">
                  <c:v>221.05058987289777</c:v>
                </c:pt>
                <c:pt idx="688">
                  <c:v>221.81600659797041</c:v>
                </c:pt>
                <c:pt idx="689">
                  <c:v>226.02547259918958</c:v>
                </c:pt>
                <c:pt idx="690">
                  <c:v>226.44208357646508</c:v>
                </c:pt>
                <c:pt idx="691">
                  <c:v>226.1900958726826</c:v>
                </c:pt>
                <c:pt idx="692">
                  <c:v>226.05350745368546</c:v>
                </c:pt>
                <c:pt idx="693">
                  <c:v>230.05369000622636</c:v>
                </c:pt>
                <c:pt idx="694">
                  <c:v>229.53732710481449</c:v>
                </c:pt>
                <c:pt idx="695">
                  <c:v>234.05224262536635</c:v>
                </c:pt>
                <c:pt idx="696">
                  <c:v>233.90620059264378</c:v>
                </c:pt>
                <c:pt idx="697">
                  <c:v>233.90554861928342</c:v>
                </c:pt>
                <c:pt idx="698">
                  <c:v>235.20297560641671</c:v>
                </c:pt>
                <c:pt idx="699">
                  <c:v>234.01866599730732</c:v>
                </c:pt>
                <c:pt idx="700">
                  <c:v>235.26523906233189</c:v>
                </c:pt>
                <c:pt idx="701">
                  <c:v>234.86883925922788</c:v>
                </c:pt>
                <c:pt idx="702">
                  <c:v>231.54540505474947</c:v>
                </c:pt>
                <c:pt idx="703">
                  <c:v>233.9922610762124</c:v>
                </c:pt>
                <c:pt idx="704">
                  <c:v>232.96833691375372</c:v>
                </c:pt>
                <c:pt idx="705">
                  <c:v>234.00269264997831</c:v>
                </c:pt>
                <c:pt idx="706">
                  <c:v>229.06595036526807</c:v>
                </c:pt>
                <c:pt idx="707">
                  <c:v>229.47212976877768</c:v>
                </c:pt>
                <c:pt idx="708">
                  <c:v>236.31393821248463</c:v>
                </c:pt>
                <c:pt idx="709">
                  <c:v>237.82325654173769</c:v>
                </c:pt>
                <c:pt idx="710">
                  <c:v>237.82325654173769</c:v>
                </c:pt>
                <c:pt idx="711">
                  <c:v>237.82325654173769</c:v>
                </c:pt>
                <c:pt idx="712">
                  <c:v>239.81242726422195</c:v>
                </c:pt>
                <c:pt idx="713">
                  <c:v>241.39150674303445</c:v>
                </c:pt>
                <c:pt idx="714">
                  <c:v>243.68221514468917</c:v>
                </c:pt>
                <c:pt idx="715">
                  <c:v>244.96138687773214</c:v>
                </c:pt>
                <c:pt idx="716">
                  <c:v>245.391037322215</c:v>
                </c:pt>
                <c:pt idx="717">
                  <c:v>244.51282920579862</c:v>
                </c:pt>
                <c:pt idx="718">
                  <c:v>240.38029606110297</c:v>
                </c:pt>
                <c:pt idx="719">
                  <c:v>240.47907002519878</c:v>
                </c:pt>
                <c:pt idx="720">
                  <c:v>244.23737046104296</c:v>
                </c:pt>
                <c:pt idx="721">
                  <c:v>241.57308132389713</c:v>
                </c:pt>
                <c:pt idx="722">
                  <c:v>244.53956011357377</c:v>
                </c:pt>
                <c:pt idx="723">
                  <c:v>244.32864673149456</c:v>
                </c:pt>
                <c:pt idx="724">
                  <c:v>242.66285479575305</c:v>
                </c:pt>
                <c:pt idx="725">
                  <c:v>241.33804492748428</c:v>
                </c:pt>
                <c:pt idx="726">
                  <c:v>240.82396393283369</c:v>
                </c:pt>
                <c:pt idx="727">
                  <c:v>236.55712427590208</c:v>
                </c:pt>
                <c:pt idx="728">
                  <c:v>238.08534983260583</c:v>
                </c:pt>
                <c:pt idx="729">
                  <c:v>239.86849697321367</c:v>
                </c:pt>
                <c:pt idx="730">
                  <c:v>236.88865272964944</c:v>
                </c:pt>
                <c:pt idx="731">
                  <c:v>232.15206626657238</c:v>
                </c:pt>
                <c:pt idx="732">
                  <c:v>233.10199145262925</c:v>
                </c:pt>
                <c:pt idx="733">
                  <c:v>233.7630924400429</c:v>
                </c:pt>
                <c:pt idx="734">
                  <c:v>231.90985816319545</c:v>
                </c:pt>
                <c:pt idx="735">
                  <c:v>233.51958038994525</c:v>
                </c:pt>
                <c:pt idx="736">
                  <c:v>233.41624261232687</c:v>
                </c:pt>
                <c:pt idx="737">
                  <c:v>237.76457893930453</c:v>
                </c:pt>
                <c:pt idx="738">
                  <c:v>235.27860451621945</c:v>
                </c:pt>
                <c:pt idx="739">
                  <c:v>230.60688940249898</c:v>
                </c:pt>
                <c:pt idx="740">
                  <c:v>231.74490890302221</c:v>
                </c:pt>
                <c:pt idx="741">
                  <c:v>230.94754548329152</c:v>
                </c:pt>
                <c:pt idx="742">
                  <c:v>231.55648860187571</c:v>
                </c:pt>
                <c:pt idx="743">
                  <c:v>230.15409390372307</c:v>
                </c:pt>
                <c:pt idx="744">
                  <c:v>233.39537946479507</c:v>
                </c:pt>
                <c:pt idx="745">
                  <c:v>230.46932302346127</c:v>
                </c:pt>
                <c:pt idx="746">
                  <c:v>230.96612672406204</c:v>
                </c:pt>
                <c:pt idx="747">
                  <c:v>234.86655735246654</c:v>
                </c:pt>
                <c:pt idx="748">
                  <c:v>231.94213084453369</c:v>
                </c:pt>
                <c:pt idx="749">
                  <c:v>231.78304934460377</c:v>
                </c:pt>
                <c:pt idx="750">
                  <c:v>233.53848761739596</c:v>
                </c:pt>
                <c:pt idx="751">
                  <c:v>233.08732205202097</c:v>
                </c:pt>
                <c:pt idx="752">
                  <c:v>237.4979218349138</c:v>
                </c:pt>
                <c:pt idx="753">
                  <c:v>237.25929958501894</c:v>
                </c:pt>
                <c:pt idx="754">
                  <c:v>233.06222107764677</c:v>
                </c:pt>
                <c:pt idx="755">
                  <c:v>232.14750245304975</c:v>
                </c:pt>
                <c:pt idx="756">
                  <c:v>231.7080724081614</c:v>
                </c:pt>
                <c:pt idx="757">
                  <c:v>233.74646711935353</c:v>
                </c:pt>
                <c:pt idx="758">
                  <c:v>237.77924833991281</c:v>
                </c:pt>
                <c:pt idx="759">
                  <c:v>240.4555989842255</c:v>
                </c:pt>
                <c:pt idx="760">
                  <c:v>241.86386144262144</c:v>
                </c:pt>
                <c:pt idx="761">
                  <c:v>242.63058211441481</c:v>
                </c:pt>
                <c:pt idx="762">
                  <c:v>242.51583480298996</c:v>
                </c:pt>
                <c:pt idx="763">
                  <c:v>242.24689579183797</c:v>
                </c:pt>
                <c:pt idx="764">
                  <c:v>243.55899217957955</c:v>
                </c:pt>
                <c:pt idx="765">
                  <c:v>241.31913770003356</c:v>
                </c:pt>
                <c:pt idx="766">
                  <c:v>235.69651944021567</c:v>
                </c:pt>
                <c:pt idx="767">
                  <c:v>233.86740817770186</c:v>
                </c:pt>
                <c:pt idx="768">
                  <c:v>236.92288133106877</c:v>
                </c:pt>
                <c:pt idx="769">
                  <c:v>235.19091409924991</c:v>
                </c:pt>
                <c:pt idx="770">
                  <c:v>235.36629493318904</c:v>
                </c:pt>
                <c:pt idx="771">
                  <c:v>231.70872438152176</c:v>
                </c:pt>
                <c:pt idx="772">
                  <c:v>234.47146149608326</c:v>
                </c:pt>
                <c:pt idx="773">
                  <c:v>235.40671728153191</c:v>
                </c:pt>
                <c:pt idx="774">
                  <c:v>237.64885366783912</c:v>
                </c:pt>
                <c:pt idx="775">
                  <c:v>238.830555383507</c:v>
                </c:pt>
                <c:pt idx="776">
                  <c:v>239.42222120804141</c:v>
                </c:pt>
                <c:pt idx="777">
                  <c:v>239.58228066801189</c:v>
                </c:pt>
                <c:pt idx="778">
                  <c:v>236.42770756386895</c:v>
                </c:pt>
                <c:pt idx="779">
                  <c:v>234.38637897255518</c:v>
                </c:pt>
                <c:pt idx="780">
                  <c:v>233.3663666502587</c:v>
                </c:pt>
                <c:pt idx="781">
                  <c:v>226.69048542676546</c:v>
                </c:pt>
                <c:pt idx="782">
                  <c:v>221.56499685422855</c:v>
                </c:pt>
                <c:pt idx="783">
                  <c:v>216.47438885647131</c:v>
                </c:pt>
                <c:pt idx="784">
                  <c:v>209.11263165787045</c:v>
                </c:pt>
                <c:pt idx="785">
                  <c:v>203.29050954977976</c:v>
                </c:pt>
                <c:pt idx="786">
                  <c:v>193.09071231349489</c:v>
                </c:pt>
                <c:pt idx="787">
                  <c:v>192.88892655846081</c:v>
                </c:pt>
                <c:pt idx="788">
                  <c:v>182.99001502798595</c:v>
                </c:pt>
                <c:pt idx="789">
                  <c:v>188.99599362370051</c:v>
                </c:pt>
                <c:pt idx="790">
                  <c:v>195.51833512082695</c:v>
                </c:pt>
                <c:pt idx="791">
                  <c:v>196.31700248727836</c:v>
                </c:pt>
                <c:pt idx="792">
                  <c:v>195.42575490365465</c:v>
                </c:pt>
                <c:pt idx="793">
                  <c:v>193.92752012152786</c:v>
                </c:pt>
                <c:pt idx="794">
                  <c:v>182.64381717363028</c:v>
                </c:pt>
                <c:pt idx="795">
                  <c:v>178.64070074096773</c:v>
                </c:pt>
                <c:pt idx="796">
                  <c:v>178.43793702589309</c:v>
                </c:pt>
                <c:pt idx="797">
                  <c:v>180.34821897177281</c:v>
                </c:pt>
                <c:pt idx="798">
                  <c:v>185.19564090611254</c:v>
                </c:pt>
                <c:pt idx="799">
                  <c:v>182.03552602840648</c:v>
                </c:pt>
                <c:pt idx="800">
                  <c:v>180.51447217866678</c:v>
                </c:pt>
                <c:pt idx="801">
                  <c:v>184.83672957122968</c:v>
                </c:pt>
                <c:pt idx="802">
                  <c:v>183.9842744025479</c:v>
                </c:pt>
                <c:pt idx="803">
                  <c:v>188.57840468638452</c:v>
                </c:pt>
                <c:pt idx="804">
                  <c:v>186.81090490642552</c:v>
                </c:pt>
                <c:pt idx="805">
                  <c:v>180.54218104648243</c:v>
                </c:pt>
                <c:pt idx="806">
                  <c:v>171.01848018489966</c:v>
                </c:pt>
                <c:pt idx="807">
                  <c:v>169.3165037276577</c:v>
                </c:pt>
                <c:pt idx="808">
                  <c:v>176.21307793363562</c:v>
                </c:pt>
                <c:pt idx="809">
                  <c:v>176.30859203092962</c:v>
                </c:pt>
                <c:pt idx="810">
                  <c:v>169.18480510886326</c:v>
                </c:pt>
                <c:pt idx="811">
                  <c:v>165.35120174989649</c:v>
                </c:pt>
                <c:pt idx="812">
                  <c:v>168.41645450366894</c:v>
                </c:pt>
                <c:pt idx="813">
                  <c:v>174.08308096531178</c:v>
                </c:pt>
                <c:pt idx="814">
                  <c:v>179.56128712580804</c:v>
                </c:pt>
                <c:pt idx="815">
                  <c:v>181.68900218737062</c:v>
                </c:pt>
                <c:pt idx="816">
                  <c:v>176.55145210766688</c:v>
                </c:pt>
                <c:pt idx="817">
                  <c:v>181.62934662489693</c:v>
                </c:pt>
                <c:pt idx="818">
                  <c:v>177.13464227851651</c:v>
                </c:pt>
                <c:pt idx="819">
                  <c:v>168.34636736742937</c:v>
                </c:pt>
                <c:pt idx="820">
                  <c:v>169.4009342778254</c:v>
                </c:pt>
                <c:pt idx="821">
                  <c:v>174.25813581257071</c:v>
                </c:pt>
                <c:pt idx="822">
                  <c:v>183.47964702162272</c:v>
                </c:pt>
                <c:pt idx="823">
                  <c:v>181.8490616473411</c:v>
                </c:pt>
                <c:pt idx="824">
                  <c:v>183.84279618334793</c:v>
                </c:pt>
                <c:pt idx="825">
                  <c:v>179.35852341073343</c:v>
                </c:pt>
                <c:pt idx="826">
                  <c:v>175.27325833466443</c:v>
                </c:pt>
                <c:pt idx="827">
                  <c:v>170.05779743839668</c:v>
                </c:pt>
                <c:pt idx="828">
                  <c:v>178.41348802487929</c:v>
                </c:pt>
                <c:pt idx="829">
                  <c:v>184.02763063101241</c:v>
                </c:pt>
                <c:pt idx="830">
                  <c:v>185.02026007217344</c:v>
                </c:pt>
                <c:pt idx="831">
                  <c:v>190.61386551745494</c:v>
                </c:pt>
                <c:pt idx="832">
                  <c:v>191.19151391474145</c:v>
                </c:pt>
                <c:pt idx="833">
                  <c:v>195.41173747640673</c:v>
                </c:pt>
                <c:pt idx="834">
                  <c:v>192.81590554209956</c:v>
                </c:pt>
                <c:pt idx="835">
                  <c:v>194.52277179954424</c:v>
                </c:pt>
                <c:pt idx="836">
                  <c:v>191.00961334719864</c:v>
                </c:pt>
                <c:pt idx="837">
                  <c:v>191.59573739816992</c:v>
                </c:pt>
                <c:pt idx="838">
                  <c:v>192.7732012869954</c:v>
                </c:pt>
                <c:pt idx="839">
                  <c:v>187.97956715488607</c:v>
                </c:pt>
                <c:pt idx="840">
                  <c:v>194.64534279129356</c:v>
                </c:pt>
                <c:pt idx="841">
                  <c:v>197.39373649192694</c:v>
                </c:pt>
                <c:pt idx="842">
                  <c:v>197.11599584040997</c:v>
                </c:pt>
                <c:pt idx="843">
                  <c:v>196.11586870560467</c:v>
                </c:pt>
                <c:pt idx="844">
                  <c:v>206.60514211389321</c:v>
                </c:pt>
                <c:pt idx="845">
                  <c:v>206.87734099184709</c:v>
                </c:pt>
                <c:pt idx="846">
                  <c:v>200.19950384827277</c:v>
                </c:pt>
                <c:pt idx="847">
                  <c:v>190.19725454017947</c:v>
                </c:pt>
                <c:pt idx="848">
                  <c:v>194.47159189075535</c:v>
                </c:pt>
                <c:pt idx="849">
                  <c:v>199.93349871724243</c:v>
                </c:pt>
                <c:pt idx="850">
                  <c:v>194.48886918480511</c:v>
                </c:pt>
                <c:pt idx="851">
                  <c:v>193.26707110747455</c:v>
                </c:pt>
                <c:pt idx="852">
                  <c:v>194.33500347175817</c:v>
                </c:pt>
                <c:pt idx="853">
                  <c:v>190.0352391601279</c:v>
                </c:pt>
                <c:pt idx="854">
                  <c:v>191.28279018519302</c:v>
                </c:pt>
                <c:pt idx="855">
                  <c:v>197.45111014763935</c:v>
                </c:pt>
                <c:pt idx="856">
                  <c:v>195.10368006363262</c:v>
                </c:pt>
                <c:pt idx="857">
                  <c:v>193.41246116683672</c:v>
                </c:pt>
                <c:pt idx="858">
                  <c:v>192.76765951343228</c:v>
                </c:pt>
                <c:pt idx="859">
                  <c:v>190.70774968134799</c:v>
                </c:pt>
                <c:pt idx="860">
                  <c:v>189.08009818718804</c:v>
                </c:pt>
                <c:pt idx="861">
                  <c:v>182.74813291128925</c:v>
                </c:pt>
                <c:pt idx="862">
                  <c:v>180.5115382985451</c:v>
                </c:pt>
                <c:pt idx="863">
                  <c:v>177.91603235091816</c:v>
                </c:pt>
                <c:pt idx="864">
                  <c:v>176.94915585749163</c:v>
                </c:pt>
                <c:pt idx="865">
                  <c:v>179.06024559836484</c:v>
                </c:pt>
                <c:pt idx="866">
                  <c:v>187.29010532629636</c:v>
                </c:pt>
                <c:pt idx="867">
                  <c:v>189.06934062674199</c:v>
                </c:pt>
                <c:pt idx="868">
                  <c:v>198.48807377730546</c:v>
                </c:pt>
                <c:pt idx="869">
                  <c:v>196.76164831904967</c:v>
                </c:pt>
                <c:pt idx="870">
                  <c:v>198.22206864627512</c:v>
                </c:pt>
                <c:pt idx="871">
                  <c:v>199.05040080062329</c:v>
                </c:pt>
                <c:pt idx="872">
                  <c:v>196.53150172283961</c:v>
                </c:pt>
                <c:pt idx="873">
                  <c:v>195.42021313009147</c:v>
                </c:pt>
                <c:pt idx="874">
                  <c:v>191.49891935415516</c:v>
                </c:pt>
                <c:pt idx="875">
                  <c:v>195.15877181258372</c:v>
                </c:pt>
                <c:pt idx="876">
                  <c:v>188.5973119138352</c:v>
                </c:pt>
                <c:pt idx="877">
                  <c:v>188.23318479206938</c:v>
                </c:pt>
                <c:pt idx="878">
                  <c:v>185.00200481808312</c:v>
                </c:pt>
                <c:pt idx="879">
                  <c:v>186.81057891974532</c:v>
                </c:pt>
                <c:pt idx="880">
                  <c:v>185.87043333409395</c:v>
                </c:pt>
                <c:pt idx="881">
                  <c:v>184.85759271876151</c:v>
                </c:pt>
                <c:pt idx="882">
                  <c:v>190.60538986377017</c:v>
                </c:pt>
                <c:pt idx="883">
                  <c:v>188.79616378874758</c:v>
                </c:pt>
                <c:pt idx="884">
                  <c:v>190.77327300406506</c:v>
                </c:pt>
                <c:pt idx="885">
                  <c:v>191.64528737355792</c:v>
                </c:pt>
                <c:pt idx="886">
                  <c:v>191.64528737355792</c:v>
                </c:pt>
                <c:pt idx="887">
                  <c:v>191.99833094819746</c:v>
                </c:pt>
                <c:pt idx="888">
                  <c:v>188.13571477469429</c:v>
                </c:pt>
                <c:pt idx="889">
                  <c:v>190.66243753280239</c:v>
                </c:pt>
                <c:pt idx="890">
                  <c:v>192.27835350647572</c:v>
                </c:pt>
                <c:pt idx="891">
                  <c:v>198.05385951930006</c:v>
                </c:pt>
                <c:pt idx="892">
                  <c:v>201.0219682423776</c:v>
                </c:pt>
                <c:pt idx="893">
                  <c:v>199.22838952800387</c:v>
                </c:pt>
                <c:pt idx="894">
                  <c:v>198.7211542536372</c:v>
                </c:pt>
                <c:pt idx="895">
                  <c:v>197.48012296217576</c:v>
                </c:pt>
                <c:pt idx="896">
                  <c:v>196.15368316050603</c:v>
                </c:pt>
                <c:pt idx="897">
                  <c:v>200.90493902419144</c:v>
                </c:pt>
                <c:pt idx="898">
                  <c:v>200.55808919647541</c:v>
                </c:pt>
                <c:pt idx="899">
                  <c:v>201.43401540613047</c:v>
                </c:pt>
                <c:pt idx="900">
                  <c:v>200.25622553062479</c:v>
                </c:pt>
                <c:pt idx="901">
                  <c:v>202.76404106128223</c:v>
                </c:pt>
                <c:pt idx="902">
                  <c:v>206.44508265392275</c:v>
                </c:pt>
                <c:pt idx="903">
                  <c:v>207.15051782984145</c:v>
                </c:pt>
                <c:pt idx="904">
                  <c:v>209.16152965989809</c:v>
                </c:pt>
                <c:pt idx="905">
                  <c:v>208.77458347051939</c:v>
                </c:pt>
                <c:pt idx="906">
                  <c:v>209.82523854075322</c:v>
                </c:pt>
                <c:pt idx="907">
                  <c:v>209.25802171723262</c:v>
                </c:pt>
                <c:pt idx="908">
                  <c:v>209.3437562141211</c:v>
                </c:pt>
                <c:pt idx="909">
                  <c:v>213.1903990402952</c:v>
                </c:pt>
                <c:pt idx="910">
                  <c:v>212.2818741626217</c:v>
                </c:pt>
                <c:pt idx="911">
                  <c:v>210.08048611133751</c:v>
                </c:pt>
                <c:pt idx="912">
                  <c:v>210.55186285088391</c:v>
                </c:pt>
                <c:pt idx="913">
                  <c:v>215.69365075743002</c:v>
                </c:pt>
                <c:pt idx="914">
                  <c:v>216.96467282346842</c:v>
                </c:pt>
                <c:pt idx="915">
                  <c:v>220.58442892023433</c:v>
                </c:pt>
                <c:pt idx="916">
                  <c:v>220.52444737108038</c:v>
                </c:pt>
                <c:pt idx="917">
                  <c:v>220.17792353004455</c:v>
                </c:pt>
                <c:pt idx="918">
                  <c:v>220.00058677602431</c:v>
                </c:pt>
                <c:pt idx="919">
                  <c:v>221.30583744348206</c:v>
                </c:pt>
                <c:pt idx="920">
                  <c:v>218.18158110059622</c:v>
                </c:pt>
                <c:pt idx="921">
                  <c:v>219.66514648211475</c:v>
                </c:pt>
                <c:pt idx="922">
                  <c:v>219.3300321748853</c:v>
                </c:pt>
                <c:pt idx="923">
                  <c:v>220.29984254843345</c:v>
                </c:pt>
                <c:pt idx="924">
                  <c:v>220.1049025136833</c:v>
                </c:pt>
                <c:pt idx="925">
                  <c:v>223.23665655021335</c:v>
                </c:pt>
                <c:pt idx="926">
                  <c:v>226.50369505901989</c:v>
                </c:pt>
                <c:pt idx="927">
                  <c:v>225.19746643152158</c:v>
                </c:pt>
                <c:pt idx="928">
                  <c:v>223.10104609125671</c:v>
                </c:pt>
                <c:pt idx="929">
                  <c:v>221.97932592474271</c:v>
                </c:pt>
                <c:pt idx="930">
                  <c:v>223.77127470571554</c:v>
                </c:pt>
                <c:pt idx="931">
                  <c:v>223.28783645900231</c:v>
                </c:pt>
                <c:pt idx="932">
                  <c:v>224.52756380374299</c:v>
                </c:pt>
                <c:pt idx="933">
                  <c:v>223.49907582776166</c:v>
                </c:pt>
                <c:pt idx="934">
                  <c:v>226.29245569026048</c:v>
                </c:pt>
                <c:pt idx="935">
                  <c:v>225.62744286268463</c:v>
                </c:pt>
                <c:pt idx="936">
                  <c:v>223.83745000179292</c:v>
                </c:pt>
                <c:pt idx="937">
                  <c:v>216.23055081969352</c:v>
                </c:pt>
                <c:pt idx="938">
                  <c:v>217.46930020439365</c:v>
                </c:pt>
                <c:pt idx="939">
                  <c:v>222.7969005186448</c:v>
                </c:pt>
                <c:pt idx="940">
                  <c:v>224.28568168704626</c:v>
                </c:pt>
                <c:pt idx="941">
                  <c:v>224.97481752895578</c:v>
                </c:pt>
                <c:pt idx="942">
                  <c:v>228.05734757677797</c:v>
                </c:pt>
                <c:pt idx="943">
                  <c:v>230.77966234299666</c:v>
                </c:pt>
                <c:pt idx="944">
                  <c:v>232.89955372423483</c:v>
                </c:pt>
                <c:pt idx="945">
                  <c:v>233.33539791564112</c:v>
                </c:pt>
                <c:pt idx="946">
                  <c:v>233.21804271077485</c:v>
                </c:pt>
                <c:pt idx="947">
                  <c:v>229.98164694990564</c:v>
                </c:pt>
                <c:pt idx="948">
                  <c:v>230.51561313204743</c:v>
                </c:pt>
                <c:pt idx="949">
                  <c:v>227.57977709030808</c:v>
                </c:pt>
                <c:pt idx="950">
                  <c:v>228.04789396305267</c:v>
                </c:pt>
                <c:pt idx="951">
                  <c:v>230.77346859607317</c:v>
                </c:pt>
                <c:pt idx="952">
                  <c:v>230.76271103562709</c:v>
                </c:pt>
                <c:pt idx="953">
                  <c:v>228.15155772735127</c:v>
                </c:pt>
                <c:pt idx="954">
                  <c:v>224.12073242687302</c:v>
                </c:pt>
                <c:pt idx="955">
                  <c:v>226.45740495043373</c:v>
                </c:pt>
                <c:pt idx="956">
                  <c:v>230.03739067221716</c:v>
                </c:pt>
                <c:pt idx="957">
                  <c:v>227.61302773168688</c:v>
                </c:pt>
                <c:pt idx="958">
                  <c:v>221.15131975707473</c:v>
                </c:pt>
                <c:pt idx="959">
                  <c:v>220.86445147851256</c:v>
                </c:pt>
                <c:pt idx="960">
                  <c:v>220.86445147851256</c:v>
                </c:pt>
                <c:pt idx="961">
                  <c:v>220.86445147851256</c:v>
                </c:pt>
                <c:pt idx="962">
                  <c:v>215.36081835696191</c:v>
                </c:pt>
                <c:pt idx="963">
                  <c:v>217.58730738262037</c:v>
                </c:pt>
                <c:pt idx="964">
                  <c:v>219.82064212856264</c:v>
                </c:pt>
                <c:pt idx="965">
                  <c:v>214.62637036650682</c:v>
                </c:pt>
                <c:pt idx="966">
                  <c:v>215.97236936898759</c:v>
                </c:pt>
                <c:pt idx="967">
                  <c:v>221.70354119330682</c:v>
                </c:pt>
                <c:pt idx="968">
                  <c:v>219.4552110600761</c:v>
                </c:pt>
                <c:pt idx="969">
                  <c:v>217.47288605787566</c:v>
                </c:pt>
                <c:pt idx="970">
                  <c:v>220.04492096452938</c:v>
                </c:pt>
                <c:pt idx="971">
                  <c:v>212.64111148418476</c:v>
                </c:pt>
                <c:pt idx="972">
                  <c:v>214.83858769530679</c:v>
                </c:pt>
                <c:pt idx="973">
                  <c:v>218.55776972952884</c:v>
                </c:pt>
                <c:pt idx="974">
                  <c:v>219.71176257738111</c:v>
                </c:pt>
                <c:pt idx="975">
                  <c:v>221.71397276707273</c:v>
                </c:pt>
                <c:pt idx="976">
                  <c:v>220.40578821949336</c:v>
                </c:pt>
                <c:pt idx="977">
                  <c:v>220.40578821949336</c:v>
                </c:pt>
                <c:pt idx="978">
                  <c:v>218.76216337800435</c:v>
                </c:pt>
                <c:pt idx="979">
                  <c:v>218.2298271292635</c:v>
                </c:pt>
                <c:pt idx="980">
                  <c:v>213.89518224285356</c:v>
                </c:pt>
                <c:pt idx="981">
                  <c:v>214.15629757368114</c:v>
                </c:pt>
                <c:pt idx="982">
                  <c:v>210.08993972506281</c:v>
                </c:pt>
                <c:pt idx="983">
                  <c:v>211.08648100638607</c:v>
                </c:pt>
                <c:pt idx="984">
                  <c:v>212.47811814409263</c:v>
                </c:pt>
                <c:pt idx="985">
                  <c:v>214.49695365447369</c:v>
                </c:pt>
                <c:pt idx="986">
                  <c:v>210.32562809483605</c:v>
                </c:pt>
                <c:pt idx="987">
                  <c:v>208.66602990601803</c:v>
                </c:pt>
                <c:pt idx="988">
                  <c:v>208.11837228330853</c:v>
                </c:pt>
                <c:pt idx="989">
                  <c:v>205.66369258152113</c:v>
                </c:pt>
                <c:pt idx="990">
                  <c:v>204.4334188505058</c:v>
                </c:pt>
                <c:pt idx="991">
                  <c:v>206.38347117136794</c:v>
                </c:pt>
                <c:pt idx="992">
                  <c:v>209.79198789937445</c:v>
                </c:pt>
                <c:pt idx="993">
                  <c:v>204.90707749681346</c:v>
                </c:pt>
                <c:pt idx="994">
                  <c:v>205.8896013508888</c:v>
                </c:pt>
                <c:pt idx="995">
                  <c:v>206.67359931673195</c:v>
                </c:pt>
                <c:pt idx="996">
                  <c:v>206.12757162742329</c:v>
                </c:pt>
                <c:pt idx="997">
                  <c:v>208.52846352698026</c:v>
                </c:pt>
                <c:pt idx="998">
                  <c:v>204.74571409012228</c:v>
                </c:pt>
                <c:pt idx="999">
                  <c:v>204.21044396125976</c:v>
                </c:pt>
                <c:pt idx="1000">
                  <c:v>197.23139512519518</c:v>
                </c:pt>
                <c:pt idx="1001">
                  <c:v>194.8823351077875</c:v>
                </c:pt>
                <c:pt idx="1002">
                  <c:v>194.59448886918483</c:v>
                </c:pt>
                <c:pt idx="1003">
                  <c:v>198.65595691760035</c:v>
                </c:pt>
                <c:pt idx="1004">
                  <c:v>200.29338801216582</c:v>
                </c:pt>
                <c:pt idx="1005">
                  <c:v>199.85656586071892</c:v>
                </c:pt>
                <c:pt idx="1006">
                  <c:v>200.19005023454741</c:v>
                </c:pt>
                <c:pt idx="1007">
                  <c:v>200.84821734183942</c:v>
                </c:pt>
                <c:pt idx="1008">
                  <c:v>200.56297899667817</c:v>
                </c:pt>
                <c:pt idx="1009">
                  <c:v>200.11050948458248</c:v>
                </c:pt>
                <c:pt idx="1010">
                  <c:v>203.07046854065541</c:v>
                </c:pt>
                <c:pt idx="1011">
                  <c:v>203.68299751272164</c:v>
                </c:pt>
                <c:pt idx="1012">
                  <c:v>207.43706012172342</c:v>
                </c:pt>
                <c:pt idx="1013">
                  <c:v>208.37492380061349</c:v>
                </c:pt>
                <c:pt idx="1014">
                  <c:v>206.77758906771069</c:v>
                </c:pt>
                <c:pt idx="1015">
                  <c:v>204.17360746639889</c:v>
                </c:pt>
                <c:pt idx="1016">
                  <c:v>199.90774576950784</c:v>
                </c:pt>
                <c:pt idx="1017">
                  <c:v>200.04792004198708</c:v>
                </c:pt>
                <c:pt idx="1018">
                  <c:v>203.05677710008769</c:v>
                </c:pt>
                <c:pt idx="1019">
                  <c:v>200.47887443319064</c:v>
                </c:pt>
                <c:pt idx="1020">
                  <c:v>209.16218163325846</c:v>
                </c:pt>
                <c:pt idx="1021">
                  <c:v>211.76355534112875</c:v>
                </c:pt>
                <c:pt idx="1022">
                  <c:v>214.44088394548197</c:v>
                </c:pt>
                <c:pt idx="1023">
                  <c:v>214.0037358073549</c:v>
                </c:pt>
                <c:pt idx="1024">
                  <c:v>213.05055075449619</c:v>
                </c:pt>
                <c:pt idx="1025">
                  <c:v>208.96104785158479</c:v>
                </c:pt>
                <c:pt idx="1026">
                  <c:v>208.22627387444945</c:v>
                </c:pt>
                <c:pt idx="1027">
                  <c:v>209.88098226306474</c:v>
                </c:pt>
                <c:pt idx="1028">
                  <c:v>210.38691359071069</c:v>
                </c:pt>
                <c:pt idx="1029">
                  <c:v>209.26225954407505</c:v>
                </c:pt>
                <c:pt idx="1030">
                  <c:v>213.75272606361304</c:v>
                </c:pt>
                <c:pt idx="1031">
                  <c:v>214.03372658193186</c:v>
                </c:pt>
                <c:pt idx="1032">
                  <c:v>214.42230270471151</c:v>
                </c:pt>
                <c:pt idx="1033">
                  <c:v>217.90318847571885</c:v>
                </c:pt>
                <c:pt idx="1034">
                  <c:v>220.31451194904176</c:v>
                </c:pt>
                <c:pt idx="1035">
                  <c:v>216.12982093551656</c:v>
                </c:pt>
                <c:pt idx="1036">
                  <c:v>209.26160757071463</c:v>
                </c:pt>
                <c:pt idx="1037">
                  <c:v>208.31885409162177</c:v>
                </c:pt>
                <c:pt idx="1038">
                  <c:v>208.84401863339863</c:v>
                </c:pt>
                <c:pt idx="1039">
                  <c:v>214.5957276185695</c:v>
                </c:pt>
                <c:pt idx="1040">
                  <c:v>218.06552984245067</c:v>
                </c:pt>
                <c:pt idx="1041">
                  <c:v>220.82533307689047</c:v>
                </c:pt>
                <c:pt idx="1042">
                  <c:v>220.76665547445731</c:v>
                </c:pt>
                <c:pt idx="1043">
                  <c:v>220.18639918372935</c:v>
                </c:pt>
                <c:pt idx="1044">
                  <c:v>215.34973480983567</c:v>
                </c:pt>
                <c:pt idx="1045">
                  <c:v>223.81137106737819</c:v>
                </c:pt>
                <c:pt idx="1046">
                  <c:v>225.54105639243582</c:v>
                </c:pt>
                <c:pt idx="1047">
                  <c:v>227.14588881898283</c:v>
                </c:pt>
                <c:pt idx="1048">
                  <c:v>227.08721121654972</c:v>
                </c:pt>
                <c:pt idx="1049">
                  <c:v>227.0493967616483</c:v>
                </c:pt>
                <c:pt idx="1050">
                  <c:v>226.38340597403192</c:v>
                </c:pt>
                <c:pt idx="1051">
                  <c:v>225.24636443354927</c:v>
                </c:pt>
                <c:pt idx="1052">
                  <c:v>227.35582424102151</c:v>
                </c:pt>
                <c:pt idx="1053">
                  <c:v>226.45642699039317</c:v>
                </c:pt>
                <c:pt idx="1054">
                  <c:v>228.06973507062503</c:v>
                </c:pt>
                <c:pt idx="1055">
                  <c:v>229.52330967756657</c:v>
                </c:pt>
                <c:pt idx="1056">
                  <c:v>229.28859926783392</c:v>
                </c:pt>
                <c:pt idx="1057">
                  <c:v>231.10238915637905</c:v>
                </c:pt>
                <c:pt idx="1058">
                  <c:v>228.7693024863004</c:v>
                </c:pt>
                <c:pt idx="1059">
                  <c:v>226.54672530080418</c:v>
                </c:pt>
                <c:pt idx="1060">
                  <c:v>227.24759666320034</c:v>
                </c:pt>
                <c:pt idx="1061">
                  <c:v>229.73748292644763</c:v>
                </c:pt>
                <c:pt idx="1062">
                  <c:v>228.27804055926273</c:v>
                </c:pt>
                <c:pt idx="1063">
                  <c:v>228.53524404992811</c:v>
                </c:pt>
                <c:pt idx="1064">
                  <c:v>224.78378933436778</c:v>
                </c:pt>
                <c:pt idx="1065">
                  <c:v>227.23846903615515</c:v>
                </c:pt>
                <c:pt idx="1066">
                  <c:v>228.6741143756866</c:v>
                </c:pt>
                <c:pt idx="1067">
                  <c:v>225.99287393117118</c:v>
                </c:pt>
                <c:pt idx="1068">
                  <c:v>227.0396171612428</c:v>
                </c:pt>
                <c:pt idx="1069">
                  <c:v>233.64541124849637</c:v>
                </c:pt>
                <c:pt idx="1070">
                  <c:v>235.18309041892547</c:v>
                </c:pt>
                <c:pt idx="1071">
                  <c:v>235.15701148451075</c:v>
                </c:pt>
                <c:pt idx="1072">
                  <c:v>238.29984906816711</c:v>
                </c:pt>
                <c:pt idx="1073">
                  <c:v>239.3892965533428</c:v>
                </c:pt>
                <c:pt idx="1074">
                  <c:v>238.30669478845095</c:v>
                </c:pt>
                <c:pt idx="1075">
                  <c:v>241.62556517940678</c:v>
                </c:pt>
                <c:pt idx="1076">
                  <c:v>241.35043242133128</c:v>
                </c:pt>
                <c:pt idx="1077">
                  <c:v>239.52490701229948</c:v>
                </c:pt>
                <c:pt idx="1078">
                  <c:v>240.92893164385302</c:v>
                </c:pt>
                <c:pt idx="1079">
                  <c:v>240.88753133546962</c:v>
                </c:pt>
                <c:pt idx="1080">
                  <c:v>242.91288657945435</c:v>
                </c:pt>
                <c:pt idx="1081">
                  <c:v>241.65914180746574</c:v>
                </c:pt>
                <c:pt idx="1082">
                  <c:v>242.04869589028593</c:v>
                </c:pt>
                <c:pt idx="1083">
                  <c:v>237.20453382274803</c:v>
                </c:pt>
                <c:pt idx="1084">
                  <c:v>237.64494182767692</c:v>
                </c:pt>
                <c:pt idx="1085">
                  <c:v>235.23687822115588</c:v>
                </c:pt>
                <c:pt idx="1086">
                  <c:v>238.84163893063328</c:v>
                </c:pt>
                <c:pt idx="1087">
                  <c:v>238.16130472908878</c:v>
                </c:pt>
                <c:pt idx="1088">
                  <c:v>238.69005512434759</c:v>
                </c:pt>
                <c:pt idx="1089">
                  <c:v>238.14011559487679</c:v>
                </c:pt>
                <c:pt idx="1090">
                  <c:v>241.160708173464</c:v>
                </c:pt>
                <c:pt idx="1091">
                  <c:v>237.68373424261884</c:v>
                </c:pt>
                <c:pt idx="1092">
                  <c:v>235.83604173933449</c:v>
                </c:pt>
                <c:pt idx="1093">
                  <c:v>234.88090076639469</c:v>
                </c:pt>
                <c:pt idx="1094">
                  <c:v>237.37372090976362</c:v>
                </c:pt>
                <c:pt idx="1095">
                  <c:v>235.7695404565769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Data for Graph'!$C$3</c:f>
              <c:strCache>
                <c:ptCount val="1"/>
                <c:pt idx="0">
                  <c:v>Best Innovators</c:v>
                </c:pt>
              </c:strCache>
            </c:strRef>
          </c:tx>
          <c:spPr>
            <a:ln>
              <a:solidFill>
                <a:schemeClr val="bg2"/>
              </a:solidFill>
            </a:ln>
          </c:spPr>
          <c:marker>
            <c:symbol val="none"/>
          </c:marker>
          <c:cat>
            <c:numRef>
              <c:f>'Data for Graph'!$A$4:$A$1099</c:f>
              <c:numCache>
                <c:formatCode>m\/d\/yyyy</c:formatCode>
                <c:ptCount val="1096"/>
                <c:pt idx="0">
                  <c:v>37629</c:v>
                </c:pt>
                <c:pt idx="1">
                  <c:v>37636</c:v>
                </c:pt>
                <c:pt idx="2">
                  <c:v>37643</c:v>
                </c:pt>
                <c:pt idx="3">
                  <c:v>37650</c:v>
                </c:pt>
                <c:pt idx="4">
                  <c:v>37657</c:v>
                </c:pt>
                <c:pt idx="5">
                  <c:v>37664</c:v>
                </c:pt>
                <c:pt idx="6">
                  <c:v>37671</c:v>
                </c:pt>
                <c:pt idx="7">
                  <c:v>37678</c:v>
                </c:pt>
                <c:pt idx="8">
                  <c:v>37685</c:v>
                </c:pt>
                <c:pt idx="9">
                  <c:v>37692</c:v>
                </c:pt>
                <c:pt idx="10">
                  <c:v>37699</c:v>
                </c:pt>
                <c:pt idx="11">
                  <c:v>37706</c:v>
                </c:pt>
                <c:pt idx="12">
                  <c:v>37713</c:v>
                </c:pt>
                <c:pt idx="13">
                  <c:v>37720</c:v>
                </c:pt>
                <c:pt idx="14">
                  <c:v>37727</c:v>
                </c:pt>
                <c:pt idx="15">
                  <c:v>37734</c:v>
                </c:pt>
                <c:pt idx="16">
                  <c:v>37741</c:v>
                </c:pt>
                <c:pt idx="17">
                  <c:v>37748</c:v>
                </c:pt>
                <c:pt idx="18">
                  <c:v>37755</c:v>
                </c:pt>
                <c:pt idx="19">
                  <c:v>37762</c:v>
                </c:pt>
                <c:pt idx="20">
                  <c:v>37769</c:v>
                </c:pt>
                <c:pt idx="21">
                  <c:v>37776</c:v>
                </c:pt>
                <c:pt idx="22">
                  <c:v>37783</c:v>
                </c:pt>
                <c:pt idx="23">
                  <c:v>37790</c:v>
                </c:pt>
                <c:pt idx="24">
                  <c:v>37797</c:v>
                </c:pt>
                <c:pt idx="25">
                  <c:v>37804</c:v>
                </c:pt>
                <c:pt idx="26">
                  <c:v>37811</c:v>
                </c:pt>
                <c:pt idx="27">
                  <c:v>37818</c:v>
                </c:pt>
                <c:pt idx="28">
                  <c:v>37825</c:v>
                </c:pt>
                <c:pt idx="29">
                  <c:v>37832</c:v>
                </c:pt>
                <c:pt idx="30">
                  <c:v>37839</c:v>
                </c:pt>
                <c:pt idx="31">
                  <c:v>37846</c:v>
                </c:pt>
                <c:pt idx="32">
                  <c:v>37853</c:v>
                </c:pt>
                <c:pt idx="33">
                  <c:v>37860</c:v>
                </c:pt>
                <c:pt idx="34">
                  <c:v>37867</c:v>
                </c:pt>
                <c:pt idx="35">
                  <c:v>37874</c:v>
                </c:pt>
                <c:pt idx="36">
                  <c:v>37881</c:v>
                </c:pt>
                <c:pt idx="37">
                  <c:v>37888</c:v>
                </c:pt>
                <c:pt idx="38">
                  <c:v>37895</c:v>
                </c:pt>
                <c:pt idx="39">
                  <c:v>37902</c:v>
                </c:pt>
                <c:pt idx="40">
                  <c:v>37909</c:v>
                </c:pt>
                <c:pt idx="41">
                  <c:v>37916</c:v>
                </c:pt>
                <c:pt idx="42">
                  <c:v>37923</c:v>
                </c:pt>
                <c:pt idx="43">
                  <c:v>37930</c:v>
                </c:pt>
                <c:pt idx="44">
                  <c:v>37937</c:v>
                </c:pt>
                <c:pt idx="45">
                  <c:v>37944</c:v>
                </c:pt>
                <c:pt idx="46">
                  <c:v>37951</c:v>
                </c:pt>
                <c:pt idx="47">
                  <c:v>37958</c:v>
                </c:pt>
                <c:pt idx="48">
                  <c:v>37965</c:v>
                </c:pt>
                <c:pt idx="49">
                  <c:v>37972</c:v>
                </c:pt>
                <c:pt idx="50">
                  <c:v>37979</c:v>
                </c:pt>
                <c:pt idx="51">
                  <c:v>37986</c:v>
                </c:pt>
                <c:pt idx="52">
                  <c:v>37993</c:v>
                </c:pt>
                <c:pt idx="53">
                  <c:v>38000</c:v>
                </c:pt>
                <c:pt idx="54">
                  <c:v>38007</c:v>
                </c:pt>
                <c:pt idx="55">
                  <c:v>38014</c:v>
                </c:pt>
                <c:pt idx="56">
                  <c:v>38021</c:v>
                </c:pt>
                <c:pt idx="57">
                  <c:v>38028</c:v>
                </c:pt>
                <c:pt idx="58">
                  <c:v>38035</c:v>
                </c:pt>
                <c:pt idx="59">
                  <c:v>38042</c:v>
                </c:pt>
                <c:pt idx="60">
                  <c:v>38049</c:v>
                </c:pt>
                <c:pt idx="61">
                  <c:v>38056</c:v>
                </c:pt>
                <c:pt idx="62">
                  <c:v>38063</c:v>
                </c:pt>
                <c:pt idx="63">
                  <c:v>38070</c:v>
                </c:pt>
                <c:pt idx="64">
                  <c:v>38077</c:v>
                </c:pt>
                <c:pt idx="65">
                  <c:v>38084</c:v>
                </c:pt>
                <c:pt idx="66">
                  <c:v>38091</c:v>
                </c:pt>
                <c:pt idx="67">
                  <c:v>38098</c:v>
                </c:pt>
                <c:pt idx="68">
                  <c:v>38105</c:v>
                </c:pt>
                <c:pt idx="69">
                  <c:v>38112</c:v>
                </c:pt>
                <c:pt idx="70">
                  <c:v>38119</c:v>
                </c:pt>
                <c:pt idx="71">
                  <c:v>38126</c:v>
                </c:pt>
                <c:pt idx="72">
                  <c:v>38133</c:v>
                </c:pt>
                <c:pt idx="73">
                  <c:v>38140</c:v>
                </c:pt>
                <c:pt idx="74">
                  <c:v>38147</c:v>
                </c:pt>
                <c:pt idx="75">
                  <c:v>38154</c:v>
                </c:pt>
                <c:pt idx="76">
                  <c:v>38161</c:v>
                </c:pt>
                <c:pt idx="77">
                  <c:v>38168</c:v>
                </c:pt>
                <c:pt idx="78">
                  <c:v>38175</c:v>
                </c:pt>
                <c:pt idx="79">
                  <c:v>38182</c:v>
                </c:pt>
                <c:pt idx="80">
                  <c:v>38189</c:v>
                </c:pt>
                <c:pt idx="81">
                  <c:v>38196</c:v>
                </c:pt>
                <c:pt idx="82">
                  <c:v>38203</c:v>
                </c:pt>
                <c:pt idx="83">
                  <c:v>38210</c:v>
                </c:pt>
                <c:pt idx="84">
                  <c:v>38217</c:v>
                </c:pt>
                <c:pt idx="85">
                  <c:v>38224</c:v>
                </c:pt>
                <c:pt idx="86">
                  <c:v>38231</c:v>
                </c:pt>
                <c:pt idx="87">
                  <c:v>38238</c:v>
                </c:pt>
                <c:pt idx="88">
                  <c:v>38245</c:v>
                </c:pt>
                <c:pt idx="89">
                  <c:v>38252</c:v>
                </c:pt>
                <c:pt idx="90">
                  <c:v>38259</c:v>
                </c:pt>
                <c:pt idx="91">
                  <c:v>38266</c:v>
                </c:pt>
                <c:pt idx="92">
                  <c:v>38273</c:v>
                </c:pt>
                <c:pt idx="93">
                  <c:v>38280</c:v>
                </c:pt>
                <c:pt idx="94">
                  <c:v>38287</c:v>
                </c:pt>
                <c:pt idx="95">
                  <c:v>38294</c:v>
                </c:pt>
                <c:pt idx="96">
                  <c:v>38301</c:v>
                </c:pt>
                <c:pt idx="97">
                  <c:v>38308</c:v>
                </c:pt>
                <c:pt idx="98">
                  <c:v>38315</c:v>
                </c:pt>
                <c:pt idx="99">
                  <c:v>38322</c:v>
                </c:pt>
                <c:pt idx="100">
                  <c:v>38329</c:v>
                </c:pt>
                <c:pt idx="101">
                  <c:v>38336</c:v>
                </c:pt>
                <c:pt idx="102">
                  <c:v>38343</c:v>
                </c:pt>
                <c:pt idx="103">
                  <c:v>38350</c:v>
                </c:pt>
                <c:pt idx="104">
                  <c:v>38357</c:v>
                </c:pt>
                <c:pt idx="105">
                  <c:v>38364</c:v>
                </c:pt>
                <c:pt idx="106">
                  <c:v>38371</c:v>
                </c:pt>
                <c:pt idx="107">
                  <c:v>38378</c:v>
                </c:pt>
                <c:pt idx="108">
                  <c:v>38385</c:v>
                </c:pt>
                <c:pt idx="109">
                  <c:v>38392</c:v>
                </c:pt>
                <c:pt idx="110">
                  <c:v>38399</c:v>
                </c:pt>
                <c:pt idx="111">
                  <c:v>38406</c:v>
                </c:pt>
                <c:pt idx="112">
                  <c:v>38413</c:v>
                </c:pt>
                <c:pt idx="113">
                  <c:v>38420</c:v>
                </c:pt>
                <c:pt idx="114">
                  <c:v>38427</c:v>
                </c:pt>
                <c:pt idx="115">
                  <c:v>38434</c:v>
                </c:pt>
                <c:pt idx="116">
                  <c:v>38441</c:v>
                </c:pt>
                <c:pt idx="117">
                  <c:v>38448</c:v>
                </c:pt>
                <c:pt idx="118">
                  <c:v>38455</c:v>
                </c:pt>
                <c:pt idx="119">
                  <c:v>38462</c:v>
                </c:pt>
                <c:pt idx="120">
                  <c:v>38469</c:v>
                </c:pt>
                <c:pt idx="121">
                  <c:v>38476</c:v>
                </c:pt>
                <c:pt idx="122">
                  <c:v>38483</c:v>
                </c:pt>
                <c:pt idx="123">
                  <c:v>38490</c:v>
                </c:pt>
                <c:pt idx="124">
                  <c:v>38497</c:v>
                </c:pt>
                <c:pt idx="125">
                  <c:v>38504</c:v>
                </c:pt>
                <c:pt idx="126">
                  <c:v>38511</c:v>
                </c:pt>
                <c:pt idx="127">
                  <c:v>38518</c:v>
                </c:pt>
                <c:pt idx="128">
                  <c:v>38525</c:v>
                </c:pt>
                <c:pt idx="129">
                  <c:v>38532</c:v>
                </c:pt>
                <c:pt idx="130">
                  <c:v>38539</c:v>
                </c:pt>
                <c:pt idx="131">
                  <c:v>38546</c:v>
                </c:pt>
                <c:pt idx="132">
                  <c:v>38553</c:v>
                </c:pt>
                <c:pt idx="133">
                  <c:v>38560</c:v>
                </c:pt>
                <c:pt idx="134">
                  <c:v>38567</c:v>
                </c:pt>
                <c:pt idx="135">
                  <c:v>38574</c:v>
                </c:pt>
                <c:pt idx="136">
                  <c:v>38581</c:v>
                </c:pt>
                <c:pt idx="137">
                  <c:v>38588</c:v>
                </c:pt>
                <c:pt idx="138">
                  <c:v>38595</c:v>
                </c:pt>
                <c:pt idx="139">
                  <c:v>38602</c:v>
                </c:pt>
                <c:pt idx="140">
                  <c:v>38609</c:v>
                </c:pt>
                <c:pt idx="141">
                  <c:v>38616</c:v>
                </c:pt>
                <c:pt idx="142">
                  <c:v>38623</c:v>
                </c:pt>
                <c:pt idx="143">
                  <c:v>38630</c:v>
                </c:pt>
                <c:pt idx="144">
                  <c:v>38637</c:v>
                </c:pt>
                <c:pt idx="145">
                  <c:v>38644</c:v>
                </c:pt>
                <c:pt idx="146">
                  <c:v>38651</c:v>
                </c:pt>
                <c:pt idx="147">
                  <c:v>38658</c:v>
                </c:pt>
                <c:pt idx="148">
                  <c:v>38665</c:v>
                </c:pt>
                <c:pt idx="149">
                  <c:v>38672</c:v>
                </c:pt>
                <c:pt idx="150">
                  <c:v>38679</c:v>
                </c:pt>
                <c:pt idx="151">
                  <c:v>38686</c:v>
                </c:pt>
                <c:pt idx="152">
                  <c:v>38693</c:v>
                </c:pt>
                <c:pt idx="153">
                  <c:v>38700</c:v>
                </c:pt>
                <c:pt idx="154">
                  <c:v>38707</c:v>
                </c:pt>
                <c:pt idx="155">
                  <c:v>38714</c:v>
                </c:pt>
                <c:pt idx="156">
                  <c:v>38721</c:v>
                </c:pt>
                <c:pt idx="157">
                  <c:v>38728</c:v>
                </c:pt>
                <c:pt idx="158">
                  <c:v>38735</c:v>
                </c:pt>
                <c:pt idx="159">
                  <c:v>38742</c:v>
                </c:pt>
                <c:pt idx="160">
                  <c:v>38749</c:v>
                </c:pt>
                <c:pt idx="161">
                  <c:v>38756</c:v>
                </c:pt>
                <c:pt idx="162">
                  <c:v>38763</c:v>
                </c:pt>
                <c:pt idx="163">
                  <c:v>38770</c:v>
                </c:pt>
                <c:pt idx="164">
                  <c:v>38777</c:v>
                </c:pt>
                <c:pt idx="165">
                  <c:v>38784</c:v>
                </c:pt>
                <c:pt idx="166">
                  <c:v>38791</c:v>
                </c:pt>
                <c:pt idx="167">
                  <c:v>38798</c:v>
                </c:pt>
                <c:pt idx="168">
                  <c:v>38805</c:v>
                </c:pt>
                <c:pt idx="169">
                  <c:v>38812</c:v>
                </c:pt>
                <c:pt idx="170">
                  <c:v>38819</c:v>
                </c:pt>
                <c:pt idx="171">
                  <c:v>38826</c:v>
                </c:pt>
                <c:pt idx="172">
                  <c:v>38833</c:v>
                </c:pt>
                <c:pt idx="173">
                  <c:v>38840</c:v>
                </c:pt>
                <c:pt idx="174">
                  <c:v>38847</c:v>
                </c:pt>
                <c:pt idx="175">
                  <c:v>38854</c:v>
                </c:pt>
                <c:pt idx="176">
                  <c:v>38861</c:v>
                </c:pt>
                <c:pt idx="177">
                  <c:v>38868</c:v>
                </c:pt>
                <c:pt idx="178">
                  <c:v>38875</c:v>
                </c:pt>
                <c:pt idx="179">
                  <c:v>38882</c:v>
                </c:pt>
                <c:pt idx="180">
                  <c:v>38889</c:v>
                </c:pt>
                <c:pt idx="181">
                  <c:v>38896</c:v>
                </c:pt>
                <c:pt idx="182">
                  <c:v>38903</c:v>
                </c:pt>
                <c:pt idx="183">
                  <c:v>38910</c:v>
                </c:pt>
                <c:pt idx="184">
                  <c:v>38917</c:v>
                </c:pt>
                <c:pt idx="185">
                  <c:v>38924</c:v>
                </c:pt>
                <c:pt idx="186">
                  <c:v>38931</c:v>
                </c:pt>
                <c:pt idx="187">
                  <c:v>38938</c:v>
                </c:pt>
                <c:pt idx="188">
                  <c:v>38945</c:v>
                </c:pt>
                <c:pt idx="189">
                  <c:v>38952</c:v>
                </c:pt>
                <c:pt idx="190">
                  <c:v>38959</c:v>
                </c:pt>
                <c:pt idx="191">
                  <c:v>38966</c:v>
                </c:pt>
                <c:pt idx="192">
                  <c:v>38973</c:v>
                </c:pt>
                <c:pt idx="193">
                  <c:v>38980</c:v>
                </c:pt>
                <c:pt idx="194">
                  <c:v>38987</c:v>
                </c:pt>
                <c:pt idx="195">
                  <c:v>38994</c:v>
                </c:pt>
                <c:pt idx="196">
                  <c:v>39001</c:v>
                </c:pt>
                <c:pt idx="197">
                  <c:v>39008</c:v>
                </c:pt>
                <c:pt idx="198">
                  <c:v>39015</c:v>
                </c:pt>
                <c:pt idx="199">
                  <c:v>39022</c:v>
                </c:pt>
                <c:pt idx="200">
                  <c:v>39029</c:v>
                </c:pt>
                <c:pt idx="201">
                  <c:v>39036</c:v>
                </c:pt>
                <c:pt idx="202">
                  <c:v>39043</c:v>
                </c:pt>
                <c:pt idx="203">
                  <c:v>39050</c:v>
                </c:pt>
                <c:pt idx="204">
                  <c:v>39057</c:v>
                </c:pt>
                <c:pt idx="205">
                  <c:v>39064</c:v>
                </c:pt>
                <c:pt idx="206">
                  <c:v>39071</c:v>
                </c:pt>
                <c:pt idx="207">
                  <c:v>39078</c:v>
                </c:pt>
                <c:pt idx="208">
                  <c:v>39085</c:v>
                </c:pt>
                <c:pt idx="209">
                  <c:v>39092</c:v>
                </c:pt>
                <c:pt idx="210">
                  <c:v>39099</c:v>
                </c:pt>
                <c:pt idx="211">
                  <c:v>39106</c:v>
                </c:pt>
                <c:pt idx="212">
                  <c:v>39113</c:v>
                </c:pt>
                <c:pt idx="213">
                  <c:v>39120</c:v>
                </c:pt>
                <c:pt idx="214">
                  <c:v>39127</c:v>
                </c:pt>
                <c:pt idx="215">
                  <c:v>39134</c:v>
                </c:pt>
                <c:pt idx="216">
                  <c:v>39141</c:v>
                </c:pt>
                <c:pt idx="217">
                  <c:v>39148</c:v>
                </c:pt>
                <c:pt idx="218">
                  <c:v>39155</c:v>
                </c:pt>
                <c:pt idx="219">
                  <c:v>39162</c:v>
                </c:pt>
                <c:pt idx="220">
                  <c:v>39169</c:v>
                </c:pt>
                <c:pt idx="221">
                  <c:v>39176</c:v>
                </c:pt>
                <c:pt idx="222">
                  <c:v>39183</c:v>
                </c:pt>
                <c:pt idx="223">
                  <c:v>39190</c:v>
                </c:pt>
                <c:pt idx="224">
                  <c:v>39197</c:v>
                </c:pt>
                <c:pt idx="225">
                  <c:v>39204</c:v>
                </c:pt>
                <c:pt idx="226">
                  <c:v>39211</c:v>
                </c:pt>
                <c:pt idx="227">
                  <c:v>39218</c:v>
                </c:pt>
                <c:pt idx="228">
                  <c:v>39225</c:v>
                </c:pt>
                <c:pt idx="229">
                  <c:v>39232</c:v>
                </c:pt>
                <c:pt idx="230">
                  <c:v>39239</c:v>
                </c:pt>
                <c:pt idx="231">
                  <c:v>39246</c:v>
                </c:pt>
                <c:pt idx="232">
                  <c:v>39253</c:v>
                </c:pt>
                <c:pt idx="233">
                  <c:v>39260</c:v>
                </c:pt>
                <c:pt idx="234">
                  <c:v>39267</c:v>
                </c:pt>
                <c:pt idx="235">
                  <c:v>39274</c:v>
                </c:pt>
                <c:pt idx="236">
                  <c:v>39281</c:v>
                </c:pt>
                <c:pt idx="237">
                  <c:v>39288</c:v>
                </c:pt>
                <c:pt idx="238">
                  <c:v>39295</c:v>
                </c:pt>
                <c:pt idx="239">
                  <c:v>39302</c:v>
                </c:pt>
                <c:pt idx="240">
                  <c:v>39309</c:v>
                </c:pt>
                <c:pt idx="241">
                  <c:v>39316</c:v>
                </c:pt>
                <c:pt idx="242">
                  <c:v>39323</c:v>
                </c:pt>
                <c:pt idx="243">
                  <c:v>39330</c:v>
                </c:pt>
                <c:pt idx="244">
                  <c:v>39337</c:v>
                </c:pt>
                <c:pt idx="245">
                  <c:v>39344</c:v>
                </c:pt>
                <c:pt idx="246">
                  <c:v>39351</c:v>
                </c:pt>
                <c:pt idx="247">
                  <c:v>39358</c:v>
                </c:pt>
                <c:pt idx="248">
                  <c:v>39365</c:v>
                </c:pt>
                <c:pt idx="249">
                  <c:v>39372</c:v>
                </c:pt>
                <c:pt idx="250">
                  <c:v>39379</c:v>
                </c:pt>
                <c:pt idx="251">
                  <c:v>39386</c:v>
                </c:pt>
                <c:pt idx="252">
                  <c:v>39393</c:v>
                </c:pt>
                <c:pt idx="253">
                  <c:v>39400</c:v>
                </c:pt>
                <c:pt idx="254">
                  <c:v>39407</c:v>
                </c:pt>
                <c:pt idx="255">
                  <c:v>39414</c:v>
                </c:pt>
                <c:pt idx="256">
                  <c:v>39421</c:v>
                </c:pt>
                <c:pt idx="257">
                  <c:v>39428</c:v>
                </c:pt>
                <c:pt idx="258">
                  <c:v>39435</c:v>
                </c:pt>
                <c:pt idx="259">
                  <c:v>39442</c:v>
                </c:pt>
                <c:pt idx="260">
                  <c:v>39449</c:v>
                </c:pt>
                <c:pt idx="261">
                  <c:v>39456</c:v>
                </c:pt>
                <c:pt idx="262">
                  <c:v>39463</c:v>
                </c:pt>
                <c:pt idx="263">
                  <c:v>39470</c:v>
                </c:pt>
                <c:pt idx="264">
                  <c:v>39477</c:v>
                </c:pt>
                <c:pt idx="265">
                  <c:v>39484</c:v>
                </c:pt>
                <c:pt idx="266">
                  <c:v>39491</c:v>
                </c:pt>
                <c:pt idx="267">
                  <c:v>39498</c:v>
                </c:pt>
                <c:pt idx="268">
                  <c:v>39505</c:v>
                </c:pt>
                <c:pt idx="269">
                  <c:v>39512</c:v>
                </c:pt>
                <c:pt idx="270">
                  <c:v>39519</c:v>
                </c:pt>
                <c:pt idx="271">
                  <c:v>39526</c:v>
                </c:pt>
                <c:pt idx="272">
                  <c:v>39533</c:v>
                </c:pt>
                <c:pt idx="273">
                  <c:v>39540</c:v>
                </c:pt>
                <c:pt idx="274">
                  <c:v>39547</c:v>
                </c:pt>
                <c:pt idx="275">
                  <c:v>39554</c:v>
                </c:pt>
                <c:pt idx="276">
                  <c:v>39561</c:v>
                </c:pt>
                <c:pt idx="277">
                  <c:v>39568</c:v>
                </c:pt>
                <c:pt idx="278">
                  <c:v>39575</c:v>
                </c:pt>
                <c:pt idx="279">
                  <c:v>39582</c:v>
                </c:pt>
                <c:pt idx="280">
                  <c:v>39589</c:v>
                </c:pt>
                <c:pt idx="281">
                  <c:v>39596</c:v>
                </c:pt>
                <c:pt idx="282">
                  <c:v>39603</c:v>
                </c:pt>
                <c:pt idx="283">
                  <c:v>39610</c:v>
                </c:pt>
                <c:pt idx="284">
                  <c:v>39617</c:v>
                </c:pt>
                <c:pt idx="285">
                  <c:v>39624</c:v>
                </c:pt>
                <c:pt idx="286">
                  <c:v>39631</c:v>
                </c:pt>
                <c:pt idx="287">
                  <c:v>39638</c:v>
                </c:pt>
                <c:pt idx="288">
                  <c:v>39645</c:v>
                </c:pt>
                <c:pt idx="289">
                  <c:v>39652</c:v>
                </c:pt>
                <c:pt idx="290">
                  <c:v>39659</c:v>
                </c:pt>
                <c:pt idx="291">
                  <c:v>39666</c:v>
                </c:pt>
                <c:pt idx="292">
                  <c:v>39673</c:v>
                </c:pt>
                <c:pt idx="293">
                  <c:v>39680</c:v>
                </c:pt>
                <c:pt idx="294">
                  <c:v>39687</c:v>
                </c:pt>
                <c:pt idx="295">
                  <c:v>39694</c:v>
                </c:pt>
                <c:pt idx="296">
                  <c:v>39701</c:v>
                </c:pt>
                <c:pt idx="297">
                  <c:v>39708</c:v>
                </c:pt>
                <c:pt idx="298">
                  <c:v>39715</c:v>
                </c:pt>
                <c:pt idx="299">
                  <c:v>39722</c:v>
                </c:pt>
                <c:pt idx="300">
                  <c:v>39729</c:v>
                </c:pt>
                <c:pt idx="301">
                  <c:v>39736</c:v>
                </c:pt>
                <c:pt idx="302">
                  <c:v>39743</c:v>
                </c:pt>
                <c:pt idx="303">
                  <c:v>39750</c:v>
                </c:pt>
                <c:pt idx="304">
                  <c:v>39757</c:v>
                </c:pt>
                <c:pt idx="305">
                  <c:v>39764</c:v>
                </c:pt>
                <c:pt idx="306">
                  <c:v>39771</c:v>
                </c:pt>
                <c:pt idx="307">
                  <c:v>39778</c:v>
                </c:pt>
                <c:pt idx="308">
                  <c:v>39785</c:v>
                </c:pt>
                <c:pt idx="309">
                  <c:v>39792</c:v>
                </c:pt>
                <c:pt idx="310">
                  <c:v>39799</c:v>
                </c:pt>
                <c:pt idx="311">
                  <c:v>39806</c:v>
                </c:pt>
                <c:pt idx="312">
                  <c:v>39813</c:v>
                </c:pt>
                <c:pt idx="313">
                  <c:v>39820</c:v>
                </c:pt>
                <c:pt idx="314">
                  <c:v>39827</c:v>
                </c:pt>
                <c:pt idx="315">
                  <c:v>39834</c:v>
                </c:pt>
                <c:pt idx="316">
                  <c:v>39841</c:v>
                </c:pt>
                <c:pt idx="317">
                  <c:v>39848</c:v>
                </c:pt>
                <c:pt idx="318">
                  <c:v>39855</c:v>
                </c:pt>
                <c:pt idx="319">
                  <c:v>39862</c:v>
                </c:pt>
                <c:pt idx="320">
                  <c:v>39869</c:v>
                </c:pt>
                <c:pt idx="321">
                  <c:v>39876</c:v>
                </c:pt>
                <c:pt idx="322">
                  <c:v>39883</c:v>
                </c:pt>
                <c:pt idx="323">
                  <c:v>39890</c:v>
                </c:pt>
                <c:pt idx="324">
                  <c:v>39897</c:v>
                </c:pt>
                <c:pt idx="325">
                  <c:v>39904</c:v>
                </c:pt>
                <c:pt idx="326">
                  <c:v>39911</c:v>
                </c:pt>
                <c:pt idx="327">
                  <c:v>39918</c:v>
                </c:pt>
                <c:pt idx="328">
                  <c:v>39925</c:v>
                </c:pt>
                <c:pt idx="329">
                  <c:v>39932</c:v>
                </c:pt>
                <c:pt idx="330">
                  <c:v>39939</c:v>
                </c:pt>
                <c:pt idx="331">
                  <c:v>39946</c:v>
                </c:pt>
                <c:pt idx="332">
                  <c:v>39953</c:v>
                </c:pt>
                <c:pt idx="333">
                  <c:v>39960</c:v>
                </c:pt>
                <c:pt idx="334">
                  <c:v>39967</c:v>
                </c:pt>
                <c:pt idx="335">
                  <c:v>39974</c:v>
                </c:pt>
                <c:pt idx="336">
                  <c:v>39981</c:v>
                </c:pt>
                <c:pt idx="337">
                  <c:v>39988</c:v>
                </c:pt>
                <c:pt idx="338">
                  <c:v>39995</c:v>
                </c:pt>
                <c:pt idx="339">
                  <c:v>40002</c:v>
                </c:pt>
                <c:pt idx="340">
                  <c:v>40009</c:v>
                </c:pt>
                <c:pt idx="341">
                  <c:v>40016</c:v>
                </c:pt>
                <c:pt idx="342">
                  <c:v>40023</c:v>
                </c:pt>
                <c:pt idx="343">
                  <c:v>40030</c:v>
                </c:pt>
                <c:pt idx="344">
                  <c:v>40037</c:v>
                </c:pt>
                <c:pt idx="345">
                  <c:v>40044</c:v>
                </c:pt>
                <c:pt idx="346">
                  <c:v>40051</c:v>
                </c:pt>
                <c:pt idx="347">
                  <c:v>40058</c:v>
                </c:pt>
                <c:pt idx="348">
                  <c:v>40065</c:v>
                </c:pt>
                <c:pt idx="349">
                  <c:v>40072</c:v>
                </c:pt>
                <c:pt idx="350">
                  <c:v>40079</c:v>
                </c:pt>
                <c:pt idx="351">
                  <c:v>40086</c:v>
                </c:pt>
                <c:pt idx="352">
                  <c:v>40093</c:v>
                </c:pt>
                <c:pt idx="353">
                  <c:v>40100</c:v>
                </c:pt>
                <c:pt idx="354">
                  <c:v>40107</c:v>
                </c:pt>
                <c:pt idx="355">
                  <c:v>40114</c:v>
                </c:pt>
                <c:pt idx="356">
                  <c:v>40121</c:v>
                </c:pt>
                <c:pt idx="357">
                  <c:v>40128</c:v>
                </c:pt>
                <c:pt idx="358">
                  <c:v>40135</c:v>
                </c:pt>
                <c:pt idx="359">
                  <c:v>40142</c:v>
                </c:pt>
                <c:pt idx="360">
                  <c:v>40149</c:v>
                </c:pt>
                <c:pt idx="361">
                  <c:v>40156</c:v>
                </c:pt>
                <c:pt idx="362">
                  <c:v>40163</c:v>
                </c:pt>
                <c:pt idx="363">
                  <c:v>40170</c:v>
                </c:pt>
                <c:pt idx="364">
                  <c:v>40171</c:v>
                </c:pt>
                <c:pt idx="365">
                  <c:v>40172</c:v>
                </c:pt>
                <c:pt idx="366">
                  <c:v>40175</c:v>
                </c:pt>
                <c:pt idx="367">
                  <c:v>40176</c:v>
                </c:pt>
                <c:pt idx="368">
                  <c:v>40177</c:v>
                </c:pt>
                <c:pt idx="369">
                  <c:v>40178</c:v>
                </c:pt>
                <c:pt idx="370">
                  <c:v>40179</c:v>
                </c:pt>
                <c:pt idx="371">
                  <c:v>40182</c:v>
                </c:pt>
                <c:pt idx="372">
                  <c:v>40183</c:v>
                </c:pt>
                <c:pt idx="373">
                  <c:v>40184</c:v>
                </c:pt>
                <c:pt idx="374">
                  <c:v>40185</c:v>
                </c:pt>
                <c:pt idx="375">
                  <c:v>40186</c:v>
                </c:pt>
                <c:pt idx="376">
                  <c:v>40189</c:v>
                </c:pt>
                <c:pt idx="377">
                  <c:v>40190</c:v>
                </c:pt>
                <c:pt idx="378">
                  <c:v>40191</c:v>
                </c:pt>
                <c:pt idx="379">
                  <c:v>40192</c:v>
                </c:pt>
                <c:pt idx="380">
                  <c:v>40193</c:v>
                </c:pt>
                <c:pt idx="381">
                  <c:v>40196</c:v>
                </c:pt>
                <c:pt idx="382">
                  <c:v>40197</c:v>
                </c:pt>
                <c:pt idx="383">
                  <c:v>40198</c:v>
                </c:pt>
                <c:pt idx="384">
                  <c:v>40199</c:v>
                </c:pt>
                <c:pt idx="385">
                  <c:v>40200</c:v>
                </c:pt>
                <c:pt idx="386">
                  <c:v>40203</c:v>
                </c:pt>
                <c:pt idx="387">
                  <c:v>40204</c:v>
                </c:pt>
                <c:pt idx="388">
                  <c:v>40205</c:v>
                </c:pt>
                <c:pt idx="389">
                  <c:v>40206</c:v>
                </c:pt>
                <c:pt idx="390">
                  <c:v>40207</c:v>
                </c:pt>
                <c:pt idx="391">
                  <c:v>40210</c:v>
                </c:pt>
                <c:pt idx="392">
                  <c:v>40211</c:v>
                </c:pt>
                <c:pt idx="393">
                  <c:v>40212</c:v>
                </c:pt>
                <c:pt idx="394">
                  <c:v>40213</c:v>
                </c:pt>
                <c:pt idx="395">
                  <c:v>40214</c:v>
                </c:pt>
                <c:pt idx="396">
                  <c:v>40217</c:v>
                </c:pt>
                <c:pt idx="397">
                  <c:v>40218</c:v>
                </c:pt>
                <c:pt idx="398">
                  <c:v>40219</c:v>
                </c:pt>
                <c:pt idx="399">
                  <c:v>40220</c:v>
                </c:pt>
                <c:pt idx="400">
                  <c:v>40221</c:v>
                </c:pt>
                <c:pt idx="401">
                  <c:v>40224</c:v>
                </c:pt>
                <c:pt idx="402">
                  <c:v>40225</c:v>
                </c:pt>
                <c:pt idx="403">
                  <c:v>40226</c:v>
                </c:pt>
                <c:pt idx="404">
                  <c:v>40227</c:v>
                </c:pt>
                <c:pt idx="405">
                  <c:v>40228</c:v>
                </c:pt>
                <c:pt idx="406">
                  <c:v>40231</c:v>
                </c:pt>
                <c:pt idx="407">
                  <c:v>40232</c:v>
                </c:pt>
                <c:pt idx="408">
                  <c:v>40233</c:v>
                </c:pt>
                <c:pt idx="409">
                  <c:v>40234</c:v>
                </c:pt>
                <c:pt idx="410">
                  <c:v>40235</c:v>
                </c:pt>
                <c:pt idx="411">
                  <c:v>40238</c:v>
                </c:pt>
                <c:pt idx="412">
                  <c:v>40239</c:v>
                </c:pt>
                <c:pt idx="413">
                  <c:v>40240</c:v>
                </c:pt>
                <c:pt idx="414">
                  <c:v>40241</c:v>
                </c:pt>
                <c:pt idx="415">
                  <c:v>40242</c:v>
                </c:pt>
                <c:pt idx="416">
                  <c:v>40245</c:v>
                </c:pt>
                <c:pt idx="417">
                  <c:v>40246</c:v>
                </c:pt>
                <c:pt idx="418">
                  <c:v>40247</c:v>
                </c:pt>
                <c:pt idx="419">
                  <c:v>40248</c:v>
                </c:pt>
                <c:pt idx="420">
                  <c:v>40249</c:v>
                </c:pt>
                <c:pt idx="421">
                  <c:v>40252</c:v>
                </c:pt>
                <c:pt idx="422">
                  <c:v>40253</c:v>
                </c:pt>
                <c:pt idx="423">
                  <c:v>40254</c:v>
                </c:pt>
                <c:pt idx="424">
                  <c:v>40255</c:v>
                </c:pt>
                <c:pt idx="425">
                  <c:v>40256</c:v>
                </c:pt>
                <c:pt idx="426">
                  <c:v>40259</c:v>
                </c:pt>
                <c:pt idx="427">
                  <c:v>40260</c:v>
                </c:pt>
                <c:pt idx="428">
                  <c:v>40261</c:v>
                </c:pt>
                <c:pt idx="429">
                  <c:v>40262</c:v>
                </c:pt>
                <c:pt idx="430">
                  <c:v>40263</c:v>
                </c:pt>
                <c:pt idx="431">
                  <c:v>40266</c:v>
                </c:pt>
                <c:pt idx="432">
                  <c:v>40267</c:v>
                </c:pt>
                <c:pt idx="433">
                  <c:v>40268</c:v>
                </c:pt>
                <c:pt idx="434">
                  <c:v>40269</c:v>
                </c:pt>
                <c:pt idx="435">
                  <c:v>40270</c:v>
                </c:pt>
                <c:pt idx="436">
                  <c:v>40273</c:v>
                </c:pt>
                <c:pt idx="437">
                  <c:v>40274</c:v>
                </c:pt>
                <c:pt idx="438">
                  <c:v>40275</c:v>
                </c:pt>
                <c:pt idx="439">
                  <c:v>40276</c:v>
                </c:pt>
                <c:pt idx="440">
                  <c:v>40277</c:v>
                </c:pt>
                <c:pt idx="441">
                  <c:v>40280</c:v>
                </c:pt>
                <c:pt idx="442">
                  <c:v>40281</c:v>
                </c:pt>
                <c:pt idx="443">
                  <c:v>40282</c:v>
                </c:pt>
                <c:pt idx="444">
                  <c:v>40283</c:v>
                </c:pt>
                <c:pt idx="445">
                  <c:v>40284</c:v>
                </c:pt>
                <c:pt idx="446">
                  <c:v>40287</c:v>
                </c:pt>
                <c:pt idx="447">
                  <c:v>40288</c:v>
                </c:pt>
                <c:pt idx="448">
                  <c:v>40289</c:v>
                </c:pt>
                <c:pt idx="449">
                  <c:v>40290</c:v>
                </c:pt>
                <c:pt idx="450">
                  <c:v>40291</c:v>
                </c:pt>
                <c:pt idx="451">
                  <c:v>40294</c:v>
                </c:pt>
                <c:pt idx="452">
                  <c:v>40295</c:v>
                </c:pt>
                <c:pt idx="453">
                  <c:v>40296</c:v>
                </c:pt>
                <c:pt idx="454">
                  <c:v>40297</c:v>
                </c:pt>
                <c:pt idx="455">
                  <c:v>40298</c:v>
                </c:pt>
                <c:pt idx="456">
                  <c:v>40301</c:v>
                </c:pt>
                <c:pt idx="457">
                  <c:v>40302</c:v>
                </c:pt>
                <c:pt idx="458">
                  <c:v>40303</c:v>
                </c:pt>
                <c:pt idx="459">
                  <c:v>40304</c:v>
                </c:pt>
                <c:pt idx="460">
                  <c:v>40305</c:v>
                </c:pt>
                <c:pt idx="461">
                  <c:v>40308</c:v>
                </c:pt>
                <c:pt idx="462">
                  <c:v>40309</c:v>
                </c:pt>
                <c:pt idx="463">
                  <c:v>40310</c:v>
                </c:pt>
                <c:pt idx="464">
                  <c:v>40311</c:v>
                </c:pt>
                <c:pt idx="465">
                  <c:v>40312</c:v>
                </c:pt>
                <c:pt idx="466">
                  <c:v>40315</c:v>
                </c:pt>
                <c:pt idx="467">
                  <c:v>40316</c:v>
                </c:pt>
                <c:pt idx="468">
                  <c:v>40317</c:v>
                </c:pt>
                <c:pt idx="469">
                  <c:v>40318</c:v>
                </c:pt>
                <c:pt idx="470">
                  <c:v>40319</c:v>
                </c:pt>
                <c:pt idx="471">
                  <c:v>40322</c:v>
                </c:pt>
                <c:pt idx="472">
                  <c:v>40323</c:v>
                </c:pt>
                <c:pt idx="473">
                  <c:v>40324</c:v>
                </c:pt>
                <c:pt idx="474">
                  <c:v>40325</c:v>
                </c:pt>
                <c:pt idx="475">
                  <c:v>40326</c:v>
                </c:pt>
                <c:pt idx="476">
                  <c:v>40329</c:v>
                </c:pt>
                <c:pt idx="477">
                  <c:v>40330</c:v>
                </c:pt>
                <c:pt idx="478">
                  <c:v>40331</c:v>
                </c:pt>
                <c:pt idx="479">
                  <c:v>40332</c:v>
                </c:pt>
                <c:pt idx="480">
                  <c:v>40333</c:v>
                </c:pt>
                <c:pt idx="481">
                  <c:v>40336</c:v>
                </c:pt>
                <c:pt idx="482">
                  <c:v>40337</c:v>
                </c:pt>
                <c:pt idx="483">
                  <c:v>40338</c:v>
                </c:pt>
                <c:pt idx="484">
                  <c:v>40339</c:v>
                </c:pt>
                <c:pt idx="485">
                  <c:v>40340</c:v>
                </c:pt>
                <c:pt idx="486">
                  <c:v>40343</c:v>
                </c:pt>
                <c:pt idx="487">
                  <c:v>40344</c:v>
                </c:pt>
                <c:pt idx="488">
                  <c:v>40345</c:v>
                </c:pt>
                <c:pt idx="489">
                  <c:v>40346</c:v>
                </c:pt>
                <c:pt idx="490">
                  <c:v>40347</c:v>
                </c:pt>
                <c:pt idx="491">
                  <c:v>40350</c:v>
                </c:pt>
                <c:pt idx="492">
                  <c:v>40351</c:v>
                </c:pt>
                <c:pt idx="493">
                  <c:v>40352</c:v>
                </c:pt>
                <c:pt idx="494">
                  <c:v>40353</c:v>
                </c:pt>
                <c:pt idx="495">
                  <c:v>40354</c:v>
                </c:pt>
                <c:pt idx="496">
                  <c:v>40357</c:v>
                </c:pt>
                <c:pt idx="497">
                  <c:v>40358</c:v>
                </c:pt>
                <c:pt idx="498">
                  <c:v>40359</c:v>
                </c:pt>
                <c:pt idx="499">
                  <c:v>40360</c:v>
                </c:pt>
                <c:pt idx="500">
                  <c:v>40361</c:v>
                </c:pt>
                <c:pt idx="501">
                  <c:v>40364</c:v>
                </c:pt>
                <c:pt idx="502">
                  <c:v>40365</c:v>
                </c:pt>
                <c:pt idx="503">
                  <c:v>40366</c:v>
                </c:pt>
                <c:pt idx="504">
                  <c:v>40367</c:v>
                </c:pt>
                <c:pt idx="505">
                  <c:v>40368</c:v>
                </c:pt>
                <c:pt idx="506">
                  <c:v>40371</c:v>
                </c:pt>
                <c:pt idx="507">
                  <c:v>40372</c:v>
                </c:pt>
                <c:pt idx="508">
                  <c:v>40373</c:v>
                </c:pt>
                <c:pt idx="509">
                  <c:v>40374</c:v>
                </c:pt>
                <c:pt idx="510">
                  <c:v>40375</c:v>
                </c:pt>
                <c:pt idx="511">
                  <c:v>40378</c:v>
                </c:pt>
                <c:pt idx="512">
                  <c:v>40379</c:v>
                </c:pt>
                <c:pt idx="513">
                  <c:v>40380</c:v>
                </c:pt>
                <c:pt idx="514">
                  <c:v>40381</c:v>
                </c:pt>
                <c:pt idx="515">
                  <c:v>40382</c:v>
                </c:pt>
                <c:pt idx="516">
                  <c:v>40385</c:v>
                </c:pt>
                <c:pt idx="517">
                  <c:v>40386</c:v>
                </c:pt>
                <c:pt idx="518">
                  <c:v>40387</c:v>
                </c:pt>
                <c:pt idx="519">
                  <c:v>40388</c:v>
                </c:pt>
                <c:pt idx="520">
                  <c:v>40389</c:v>
                </c:pt>
                <c:pt idx="521">
                  <c:v>40392</c:v>
                </c:pt>
                <c:pt idx="522">
                  <c:v>40393</c:v>
                </c:pt>
                <c:pt idx="523">
                  <c:v>40394</c:v>
                </c:pt>
                <c:pt idx="524">
                  <c:v>40395</c:v>
                </c:pt>
                <c:pt idx="525">
                  <c:v>40396</c:v>
                </c:pt>
                <c:pt idx="526">
                  <c:v>40399</c:v>
                </c:pt>
                <c:pt idx="527">
                  <c:v>40400</c:v>
                </c:pt>
                <c:pt idx="528">
                  <c:v>40401</c:v>
                </c:pt>
                <c:pt idx="529">
                  <c:v>40402</c:v>
                </c:pt>
                <c:pt idx="530">
                  <c:v>40403</c:v>
                </c:pt>
                <c:pt idx="531">
                  <c:v>40406</c:v>
                </c:pt>
                <c:pt idx="532">
                  <c:v>40407</c:v>
                </c:pt>
                <c:pt idx="533">
                  <c:v>40408</c:v>
                </c:pt>
                <c:pt idx="534">
                  <c:v>40409</c:v>
                </c:pt>
                <c:pt idx="535">
                  <c:v>40410</c:v>
                </c:pt>
                <c:pt idx="536">
                  <c:v>40413</c:v>
                </c:pt>
                <c:pt idx="537">
                  <c:v>40414</c:v>
                </c:pt>
                <c:pt idx="538">
                  <c:v>40415</c:v>
                </c:pt>
                <c:pt idx="539">
                  <c:v>40416</c:v>
                </c:pt>
                <c:pt idx="540">
                  <c:v>40417</c:v>
                </c:pt>
                <c:pt idx="541">
                  <c:v>40420</c:v>
                </c:pt>
                <c:pt idx="542">
                  <c:v>40421</c:v>
                </c:pt>
                <c:pt idx="543">
                  <c:v>40422</c:v>
                </c:pt>
                <c:pt idx="544">
                  <c:v>40423</c:v>
                </c:pt>
                <c:pt idx="545">
                  <c:v>40424</c:v>
                </c:pt>
                <c:pt idx="546">
                  <c:v>40427</c:v>
                </c:pt>
                <c:pt idx="547">
                  <c:v>40428</c:v>
                </c:pt>
                <c:pt idx="548">
                  <c:v>40429</c:v>
                </c:pt>
                <c:pt idx="549">
                  <c:v>40430</c:v>
                </c:pt>
                <c:pt idx="550">
                  <c:v>40431</c:v>
                </c:pt>
                <c:pt idx="551">
                  <c:v>40434</c:v>
                </c:pt>
                <c:pt idx="552">
                  <c:v>40435</c:v>
                </c:pt>
                <c:pt idx="553">
                  <c:v>40436</c:v>
                </c:pt>
                <c:pt idx="554">
                  <c:v>40437</c:v>
                </c:pt>
                <c:pt idx="555">
                  <c:v>40438</c:v>
                </c:pt>
                <c:pt idx="556">
                  <c:v>40441</c:v>
                </c:pt>
                <c:pt idx="557">
                  <c:v>40442</c:v>
                </c:pt>
                <c:pt idx="558">
                  <c:v>40443</c:v>
                </c:pt>
                <c:pt idx="559">
                  <c:v>40444</c:v>
                </c:pt>
                <c:pt idx="560">
                  <c:v>40445</c:v>
                </c:pt>
                <c:pt idx="561">
                  <c:v>40448</c:v>
                </c:pt>
                <c:pt idx="562">
                  <c:v>40449</c:v>
                </c:pt>
                <c:pt idx="563">
                  <c:v>40450</c:v>
                </c:pt>
                <c:pt idx="564">
                  <c:v>40451</c:v>
                </c:pt>
                <c:pt idx="565">
                  <c:v>40452</c:v>
                </c:pt>
                <c:pt idx="566">
                  <c:v>40455</c:v>
                </c:pt>
                <c:pt idx="567">
                  <c:v>40456</c:v>
                </c:pt>
                <c:pt idx="568">
                  <c:v>40457</c:v>
                </c:pt>
                <c:pt idx="569">
                  <c:v>40458</c:v>
                </c:pt>
                <c:pt idx="570">
                  <c:v>40459</c:v>
                </c:pt>
                <c:pt idx="571">
                  <c:v>40462</c:v>
                </c:pt>
                <c:pt idx="572">
                  <c:v>40463</c:v>
                </c:pt>
                <c:pt idx="573">
                  <c:v>40464</c:v>
                </c:pt>
                <c:pt idx="574">
                  <c:v>40465</c:v>
                </c:pt>
                <c:pt idx="575">
                  <c:v>40466</c:v>
                </c:pt>
                <c:pt idx="576">
                  <c:v>40469</c:v>
                </c:pt>
                <c:pt idx="577">
                  <c:v>40470</c:v>
                </c:pt>
                <c:pt idx="578">
                  <c:v>40471</c:v>
                </c:pt>
                <c:pt idx="579">
                  <c:v>40472</c:v>
                </c:pt>
                <c:pt idx="580">
                  <c:v>40473</c:v>
                </c:pt>
                <c:pt idx="581">
                  <c:v>40476</c:v>
                </c:pt>
                <c:pt idx="582">
                  <c:v>40477</c:v>
                </c:pt>
                <c:pt idx="583">
                  <c:v>40478</c:v>
                </c:pt>
                <c:pt idx="584">
                  <c:v>40479</c:v>
                </c:pt>
                <c:pt idx="585">
                  <c:v>40480</c:v>
                </c:pt>
                <c:pt idx="586">
                  <c:v>40483</c:v>
                </c:pt>
                <c:pt idx="587">
                  <c:v>40484</c:v>
                </c:pt>
                <c:pt idx="588">
                  <c:v>40485</c:v>
                </c:pt>
                <c:pt idx="589">
                  <c:v>40486</c:v>
                </c:pt>
                <c:pt idx="590">
                  <c:v>40487</c:v>
                </c:pt>
                <c:pt idx="591">
                  <c:v>40490</c:v>
                </c:pt>
                <c:pt idx="592">
                  <c:v>40491</c:v>
                </c:pt>
                <c:pt idx="593">
                  <c:v>40492</c:v>
                </c:pt>
                <c:pt idx="594">
                  <c:v>40493</c:v>
                </c:pt>
                <c:pt idx="595">
                  <c:v>40494</c:v>
                </c:pt>
                <c:pt idx="596">
                  <c:v>40497</c:v>
                </c:pt>
                <c:pt idx="597">
                  <c:v>40498</c:v>
                </c:pt>
                <c:pt idx="598">
                  <c:v>40499</c:v>
                </c:pt>
                <c:pt idx="599">
                  <c:v>40500</c:v>
                </c:pt>
                <c:pt idx="600">
                  <c:v>40501</c:v>
                </c:pt>
                <c:pt idx="601">
                  <c:v>40504</c:v>
                </c:pt>
                <c:pt idx="602">
                  <c:v>40505</c:v>
                </c:pt>
                <c:pt idx="603">
                  <c:v>40506</c:v>
                </c:pt>
                <c:pt idx="604">
                  <c:v>40507</c:v>
                </c:pt>
                <c:pt idx="605">
                  <c:v>40508</c:v>
                </c:pt>
                <c:pt idx="606">
                  <c:v>40511</c:v>
                </c:pt>
                <c:pt idx="607">
                  <c:v>40512</c:v>
                </c:pt>
                <c:pt idx="608">
                  <c:v>40513</c:v>
                </c:pt>
                <c:pt idx="609">
                  <c:v>40514</c:v>
                </c:pt>
                <c:pt idx="610">
                  <c:v>40515</c:v>
                </c:pt>
                <c:pt idx="611">
                  <c:v>40518</c:v>
                </c:pt>
                <c:pt idx="612">
                  <c:v>40519</c:v>
                </c:pt>
                <c:pt idx="613">
                  <c:v>40520</c:v>
                </c:pt>
                <c:pt idx="614">
                  <c:v>40521</c:v>
                </c:pt>
                <c:pt idx="615">
                  <c:v>40522</c:v>
                </c:pt>
                <c:pt idx="616">
                  <c:v>40525</c:v>
                </c:pt>
                <c:pt idx="617">
                  <c:v>40526</c:v>
                </c:pt>
                <c:pt idx="618">
                  <c:v>40527</c:v>
                </c:pt>
                <c:pt idx="619">
                  <c:v>40528</c:v>
                </c:pt>
                <c:pt idx="620">
                  <c:v>40529</c:v>
                </c:pt>
                <c:pt idx="621">
                  <c:v>40532</c:v>
                </c:pt>
                <c:pt idx="622">
                  <c:v>40533</c:v>
                </c:pt>
                <c:pt idx="623">
                  <c:v>40534</c:v>
                </c:pt>
                <c:pt idx="624">
                  <c:v>40535</c:v>
                </c:pt>
                <c:pt idx="625">
                  <c:v>40536</c:v>
                </c:pt>
                <c:pt idx="626">
                  <c:v>40539</c:v>
                </c:pt>
                <c:pt idx="627">
                  <c:v>40540</c:v>
                </c:pt>
                <c:pt idx="628">
                  <c:v>40541</c:v>
                </c:pt>
                <c:pt idx="629">
                  <c:v>40542</c:v>
                </c:pt>
                <c:pt idx="630">
                  <c:v>40543</c:v>
                </c:pt>
                <c:pt idx="631">
                  <c:v>40546</c:v>
                </c:pt>
                <c:pt idx="632">
                  <c:v>40547</c:v>
                </c:pt>
                <c:pt idx="633">
                  <c:v>40548</c:v>
                </c:pt>
                <c:pt idx="634">
                  <c:v>40549</c:v>
                </c:pt>
                <c:pt idx="635">
                  <c:v>40550</c:v>
                </c:pt>
                <c:pt idx="636">
                  <c:v>40553</c:v>
                </c:pt>
                <c:pt idx="637">
                  <c:v>40554</c:v>
                </c:pt>
                <c:pt idx="638">
                  <c:v>40555</c:v>
                </c:pt>
                <c:pt idx="639">
                  <c:v>40556</c:v>
                </c:pt>
                <c:pt idx="640">
                  <c:v>40557</c:v>
                </c:pt>
                <c:pt idx="641">
                  <c:v>40560</c:v>
                </c:pt>
                <c:pt idx="642">
                  <c:v>40561</c:v>
                </c:pt>
                <c:pt idx="643">
                  <c:v>40562</c:v>
                </c:pt>
                <c:pt idx="644">
                  <c:v>40563</c:v>
                </c:pt>
                <c:pt idx="645">
                  <c:v>40564</c:v>
                </c:pt>
                <c:pt idx="646">
                  <c:v>40567</c:v>
                </c:pt>
                <c:pt idx="647">
                  <c:v>40568</c:v>
                </c:pt>
                <c:pt idx="648">
                  <c:v>40569</c:v>
                </c:pt>
                <c:pt idx="649">
                  <c:v>40570</c:v>
                </c:pt>
                <c:pt idx="650">
                  <c:v>40571</c:v>
                </c:pt>
                <c:pt idx="651">
                  <c:v>40574</c:v>
                </c:pt>
                <c:pt idx="652">
                  <c:v>40575</c:v>
                </c:pt>
                <c:pt idx="653">
                  <c:v>40576</c:v>
                </c:pt>
                <c:pt idx="654">
                  <c:v>40577</c:v>
                </c:pt>
                <c:pt idx="655">
                  <c:v>40578</c:v>
                </c:pt>
                <c:pt idx="656">
                  <c:v>40581</c:v>
                </c:pt>
                <c:pt idx="657">
                  <c:v>40582</c:v>
                </c:pt>
                <c:pt idx="658">
                  <c:v>40583</c:v>
                </c:pt>
                <c:pt idx="659">
                  <c:v>40584</c:v>
                </c:pt>
                <c:pt idx="660">
                  <c:v>40585</c:v>
                </c:pt>
                <c:pt idx="661">
                  <c:v>40588</c:v>
                </c:pt>
                <c:pt idx="662">
                  <c:v>40589</c:v>
                </c:pt>
                <c:pt idx="663">
                  <c:v>40590</c:v>
                </c:pt>
                <c:pt idx="664">
                  <c:v>40591</c:v>
                </c:pt>
                <c:pt idx="665">
                  <c:v>40592</c:v>
                </c:pt>
                <c:pt idx="666">
                  <c:v>40595</c:v>
                </c:pt>
                <c:pt idx="667">
                  <c:v>40596</c:v>
                </c:pt>
                <c:pt idx="668">
                  <c:v>40597</c:v>
                </c:pt>
                <c:pt idx="669">
                  <c:v>40598</c:v>
                </c:pt>
                <c:pt idx="670">
                  <c:v>40599</c:v>
                </c:pt>
                <c:pt idx="671">
                  <c:v>40602</c:v>
                </c:pt>
                <c:pt idx="672">
                  <c:v>40603</c:v>
                </c:pt>
                <c:pt idx="673">
                  <c:v>40604</c:v>
                </c:pt>
                <c:pt idx="674">
                  <c:v>40605</c:v>
                </c:pt>
                <c:pt idx="675">
                  <c:v>40606</c:v>
                </c:pt>
                <c:pt idx="676">
                  <c:v>40609</c:v>
                </c:pt>
                <c:pt idx="677">
                  <c:v>40610</c:v>
                </c:pt>
                <c:pt idx="678">
                  <c:v>40611</c:v>
                </c:pt>
                <c:pt idx="679">
                  <c:v>40612</c:v>
                </c:pt>
                <c:pt idx="680">
                  <c:v>40613</c:v>
                </c:pt>
                <c:pt idx="681">
                  <c:v>40616</c:v>
                </c:pt>
                <c:pt idx="682">
                  <c:v>40617</c:v>
                </c:pt>
                <c:pt idx="683">
                  <c:v>40618</c:v>
                </c:pt>
                <c:pt idx="684">
                  <c:v>40619</c:v>
                </c:pt>
                <c:pt idx="685">
                  <c:v>40620</c:v>
                </c:pt>
                <c:pt idx="686">
                  <c:v>40623</c:v>
                </c:pt>
                <c:pt idx="687">
                  <c:v>40624</c:v>
                </c:pt>
                <c:pt idx="688">
                  <c:v>40625</c:v>
                </c:pt>
                <c:pt idx="689">
                  <c:v>40626</c:v>
                </c:pt>
                <c:pt idx="690">
                  <c:v>40627</c:v>
                </c:pt>
                <c:pt idx="691">
                  <c:v>40630</c:v>
                </c:pt>
                <c:pt idx="692">
                  <c:v>40631</c:v>
                </c:pt>
                <c:pt idx="693">
                  <c:v>40632</c:v>
                </c:pt>
                <c:pt idx="694">
                  <c:v>40633</c:v>
                </c:pt>
                <c:pt idx="695">
                  <c:v>40634</c:v>
                </c:pt>
                <c:pt idx="696">
                  <c:v>40637</c:v>
                </c:pt>
                <c:pt idx="697">
                  <c:v>40638</c:v>
                </c:pt>
                <c:pt idx="698">
                  <c:v>40639</c:v>
                </c:pt>
                <c:pt idx="699">
                  <c:v>40640</c:v>
                </c:pt>
                <c:pt idx="700">
                  <c:v>40641</c:v>
                </c:pt>
                <c:pt idx="701">
                  <c:v>40644</c:v>
                </c:pt>
                <c:pt idx="702">
                  <c:v>40645</c:v>
                </c:pt>
                <c:pt idx="703">
                  <c:v>40646</c:v>
                </c:pt>
                <c:pt idx="704">
                  <c:v>40647</c:v>
                </c:pt>
                <c:pt idx="705">
                  <c:v>40648</c:v>
                </c:pt>
                <c:pt idx="706">
                  <c:v>40651</c:v>
                </c:pt>
                <c:pt idx="707">
                  <c:v>40652</c:v>
                </c:pt>
                <c:pt idx="708">
                  <c:v>40653</c:v>
                </c:pt>
                <c:pt idx="709">
                  <c:v>40654</c:v>
                </c:pt>
                <c:pt idx="710">
                  <c:v>40655</c:v>
                </c:pt>
                <c:pt idx="711">
                  <c:v>40658</c:v>
                </c:pt>
                <c:pt idx="712">
                  <c:v>40659</c:v>
                </c:pt>
                <c:pt idx="713">
                  <c:v>40660</c:v>
                </c:pt>
                <c:pt idx="714">
                  <c:v>40661</c:v>
                </c:pt>
                <c:pt idx="715">
                  <c:v>40662</c:v>
                </c:pt>
                <c:pt idx="716">
                  <c:v>40665</c:v>
                </c:pt>
                <c:pt idx="717">
                  <c:v>40666</c:v>
                </c:pt>
                <c:pt idx="718">
                  <c:v>40667</c:v>
                </c:pt>
                <c:pt idx="719">
                  <c:v>40668</c:v>
                </c:pt>
                <c:pt idx="720">
                  <c:v>40669</c:v>
                </c:pt>
                <c:pt idx="721">
                  <c:v>40672</c:v>
                </c:pt>
                <c:pt idx="722">
                  <c:v>40673</c:v>
                </c:pt>
                <c:pt idx="723">
                  <c:v>40674</c:v>
                </c:pt>
                <c:pt idx="724">
                  <c:v>40675</c:v>
                </c:pt>
                <c:pt idx="725">
                  <c:v>40676</c:v>
                </c:pt>
                <c:pt idx="726">
                  <c:v>40679</c:v>
                </c:pt>
                <c:pt idx="727">
                  <c:v>40680</c:v>
                </c:pt>
                <c:pt idx="728">
                  <c:v>40681</c:v>
                </c:pt>
                <c:pt idx="729">
                  <c:v>40682</c:v>
                </c:pt>
                <c:pt idx="730">
                  <c:v>40683</c:v>
                </c:pt>
                <c:pt idx="731">
                  <c:v>40686</c:v>
                </c:pt>
                <c:pt idx="732">
                  <c:v>40687</c:v>
                </c:pt>
                <c:pt idx="733">
                  <c:v>40688</c:v>
                </c:pt>
                <c:pt idx="734">
                  <c:v>40689</c:v>
                </c:pt>
                <c:pt idx="735">
                  <c:v>40690</c:v>
                </c:pt>
                <c:pt idx="736">
                  <c:v>40693</c:v>
                </c:pt>
                <c:pt idx="737">
                  <c:v>40694</c:v>
                </c:pt>
                <c:pt idx="738">
                  <c:v>40695</c:v>
                </c:pt>
                <c:pt idx="739">
                  <c:v>40696</c:v>
                </c:pt>
                <c:pt idx="740">
                  <c:v>40697</c:v>
                </c:pt>
                <c:pt idx="741">
                  <c:v>40700</c:v>
                </c:pt>
                <c:pt idx="742">
                  <c:v>40701</c:v>
                </c:pt>
                <c:pt idx="743">
                  <c:v>40702</c:v>
                </c:pt>
                <c:pt idx="744">
                  <c:v>40703</c:v>
                </c:pt>
                <c:pt idx="745">
                  <c:v>40704</c:v>
                </c:pt>
                <c:pt idx="746">
                  <c:v>40707</c:v>
                </c:pt>
                <c:pt idx="747">
                  <c:v>40708</c:v>
                </c:pt>
                <c:pt idx="748">
                  <c:v>40709</c:v>
                </c:pt>
                <c:pt idx="749">
                  <c:v>40710</c:v>
                </c:pt>
                <c:pt idx="750">
                  <c:v>40711</c:v>
                </c:pt>
                <c:pt idx="751">
                  <c:v>40714</c:v>
                </c:pt>
                <c:pt idx="752">
                  <c:v>40715</c:v>
                </c:pt>
                <c:pt idx="753">
                  <c:v>40716</c:v>
                </c:pt>
                <c:pt idx="754">
                  <c:v>40717</c:v>
                </c:pt>
                <c:pt idx="755">
                  <c:v>40718</c:v>
                </c:pt>
                <c:pt idx="756">
                  <c:v>40721</c:v>
                </c:pt>
                <c:pt idx="757">
                  <c:v>40722</c:v>
                </c:pt>
                <c:pt idx="758">
                  <c:v>40723</c:v>
                </c:pt>
                <c:pt idx="759">
                  <c:v>40724</c:v>
                </c:pt>
                <c:pt idx="760">
                  <c:v>40725</c:v>
                </c:pt>
                <c:pt idx="761">
                  <c:v>40728</c:v>
                </c:pt>
                <c:pt idx="762">
                  <c:v>40729</c:v>
                </c:pt>
                <c:pt idx="763">
                  <c:v>40730</c:v>
                </c:pt>
                <c:pt idx="764">
                  <c:v>40731</c:v>
                </c:pt>
                <c:pt idx="765">
                  <c:v>40732</c:v>
                </c:pt>
                <c:pt idx="766">
                  <c:v>40735</c:v>
                </c:pt>
                <c:pt idx="767">
                  <c:v>40736</c:v>
                </c:pt>
                <c:pt idx="768">
                  <c:v>40737</c:v>
                </c:pt>
                <c:pt idx="769">
                  <c:v>40738</c:v>
                </c:pt>
                <c:pt idx="770">
                  <c:v>40739</c:v>
                </c:pt>
                <c:pt idx="771">
                  <c:v>40742</c:v>
                </c:pt>
                <c:pt idx="772">
                  <c:v>40743</c:v>
                </c:pt>
                <c:pt idx="773">
                  <c:v>40744</c:v>
                </c:pt>
                <c:pt idx="774">
                  <c:v>40745</c:v>
                </c:pt>
                <c:pt idx="775">
                  <c:v>40746</c:v>
                </c:pt>
                <c:pt idx="776">
                  <c:v>40749</c:v>
                </c:pt>
                <c:pt idx="777">
                  <c:v>40750</c:v>
                </c:pt>
                <c:pt idx="778">
                  <c:v>40751</c:v>
                </c:pt>
                <c:pt idx="779">
                  <c:v>40752</c:v>
                </c:pt>
                <c:pt idx="780">
                  <c:v>40753</c:v>
                </c:pt>
                <c:pt idx="781">
                  <c:v>40756</c:v>
                </c:pt>
                <c:pt idx="782">
                  <c:v>40757</c:v>
                </c:pt>
                <c:pt idx="783">
                  <c:v>40758</c:v>
                </c:pt>
                <c:pt idx="784">
                  <c:v>40759</c:v>
                </c:pt>
                <c:pt idx="785">
                  <c:v>40760</c:v>
                </c:pt>
                <c:pt idx="786">
                  <c:v>40763</c:v>
                </c:pt>
                <c:pt idx="787">
                  <c:v>40764</c:v>
                </c:pt>
                <c:pt idx="788">
                  <c:v>40765</c:v>
                </c:pt>
                <c:pt idx="789">
                  <c:v>40766</c:v>
                </c:pt>
                <c:pt idx="790">
                  <c:v>40767</c:v>
                </c:pt>
                <c:pt idx="791">
                  <c:v>40770</c:v>
                </c:pt>
                <c:pt idx="792">
                  <c:v>40771</c:v>
                </c:pt>
                <c:pt idx="793">
                  <c:v>40772</c:v>
                </c:pt>
                <c:pt idx="794">
                  <c:v>40773</c:v>
                </c:pt>
                <c:pt idx="795">
                  <c:v>40774</c:v>
                </c:pt>
                <c:pt idx="796">
                  <c:v>40777</c:v>
                </c:pt>
                <c:pt idx="797">
                  <c:v>40778</c:v>
                </c:pt>
                <c:pt idx="798">
                  <c:v>40779</c:v>
                </c:pt>
                <c:pt idx="799">
                  <c:v>40780</c:v>
                </c:pt>
                <c:pt idx="800">
                  <c:v>40781</c:v>
                </c:pt>
                <c:pt idx="801">
                  <c:v>40784</c:v>
                </c:pt>
                <c:pt idx="802">
                  <c:v>40785</c:v>
                </c:pt>
                <c:pt idx="803">
                  <c:v>40786</c:v>
                </c:pt>
                <c:pt idx="804">
                  <c:v>40787</c:v>
                </c:pt>
                <c:pt idx="805">
                  <c:v>40788</c:v>
                </c:pt>
                <c:pt idx="806">
                  <c:v>40791</c:v>
                </c:pt>
                <c:pt idx="807">
                  <c:v>40792</c:v>
                </c:pt>
                <c:pt idx="808">
                  <c:v>40793</c:v>
                </c:pt>
                <c:pt idx="809">
                  <c:v>40794</c:v>
                </c:pt>
                <c:pt idx="810">
                  <c:v>40795</c:v>
                </c:pt>
                <c:pt idx="811">
                  <c:v>40798</c:v>
                </c:pt>
                <c:pt idx="812">
                  <c:v>40799</c:v>
                </c:pt>
                <c:pt idx="813">
                  <c:v>40800</c:v>
                </c:pt>
                <c:pt idx="814">
                  <c:v>40801</c:v>
                </c:pt>
                <c:pt idx="815">
                  <c:v>40802</c:v>
                </c:pt>
                <c:pt idx="816">
                  <c:v>40805</c:v>
                </c:pt>
                <c:pt idx="817">
                  <c:v>40806</c:v>
                </c:pt>
                <c:pt idx="818">
                  <c:v>40807</c:v>
                </c:pt>
                <c:pt idx="819">
                  <c:v>40808</c:v>
                </c:pt>
                <c:pt idx="820">
                  <c:v>40809</c:v>
                </c:pt>
                <c:pt idx="821">
                  <c:v>40812</c:v>
                </c:pt>
                <c:pt idx="822">
                  <c:v>40813</c:v>
                </c:pt>
                <c:pt idx="823">
                  <c:v>40814</c:v>
                </c:pt>
                <c:pt idx="824">
                  <c:v>40815</c:v>
                </c:pt>
                <c:pt idx="825">
                  <c:v>40816</c:v>
                </c:pt>
                <c:pt idx="826">
                  <c:v>40819</c:v>
                </c:pt>
                <c:pt idx="827">
                  <c:v>40820</c:v>
                </c:pt>
                <c:pt idx="828">
                  <c:v>40821</c:v>
                </c:pt>
                <c:pt idx="829">
                  <c:v>40822</c:v>
                </c:pt>
                <c:pt idx="830">
                  <c:v>40823</c:v>
                </c:pt>
                <c:pt idx="831">
                  <c:v>40826</c:v>
                </c:pt>
                <c:pt idx="832">
                  <c:v>40827</c:v>
                </c:pt>
                <c:pt idx="833">
                  <c:v>40828</c:v>
                </c:pt>
                <c:pt idx="834">
                  <c:v>40829</c:v>
                </c:pt>
                <c:pt idx="835">
                  <c:v>40830</c:v>
                </c:pt>
                <c:pt idx="836">
                  <c:v>40833</c:v>
                </c:pt>
                <c:pt idx="837">
                  <c:v>40834</c:v>
                </c:pt>
                <c:pt idx="838">
                  <c:v>40835</c:v>
                </c:pt>
                <c:pt idx="839">
                  <c:v>40836</c:v>
                </c:pt>
                <c:pt idx="840">
                  <c:v>40837</c:v>
                </c:pt>
                <c:pt idx="841">
                  <c:v>40840</c:v>
                </c:pt>
                <c:pt idx="842">
                  <c:v>40841</c:v>
                </c:pt>
                <c:pt idx="843">
                  <c:v>40842</c:v>
                </c:pt>
                <c:pt idx="844">
                  <c:v>40843</c:v>
                </c:pt>
                <c:pt idx="845">
                  <c:v>40844</c:v>
                </c:pt>
                <c:pt idx="846">
                  <c:v>40847</c:v>
                </c:pt>
                <c:pt idx="847">
                  <c:v>40848</c:v>
                </c:pt>
                <c:pt idx="848">
                  <c:v>40849</c:v>
                </c:pt>
                <c:pt idx="849">
                  <c:v>40850</c:v>
                </c:pt>
                <c:pt idx="850">
                  <c:v>40851</c:v>
                </c:pt>
                <c:pt idx="851">
                  <c:v>40854</c:v>
                </c:pt>
                <c:pt idx="852">
                  <c:v>40855</c:v>
                </c:pt>
                <c:pt idx="853">
                  <c:v>40856</c:v>
                </c:pt>
                <c:pt idx="854">
                  <c:v>40857</c:v>
                </c:pt>
                <c:pt idx="855">
                  <c:v>40858</c:v>
                </c:pt>
                <c:pt idx="856">
                  <c:v>40861</c:v>
                </c:pt>
                <c:pt idx="857">
                  <c:v>40862</c:v>
                </c:pt>
                <c:pt idx="858">
                  <c:v>40863</c:v>
                </c:pt>
                <c:pt idx="859">
                  <c:v>40864</c:v>
                </c:pt>
                <c:pt idx="860">
                  <c:v>40865</c:v>
                </c:pt>
                <c:pt idx="861">
                  <c:v>40868</c:v>
                </c:pt>
                <c:pt idx="862">
                  <c:v>40869</c:v>
                </c:pt>
                <c:pt idx="863">
                  <c:v>40870</c:v>
                </c:pt>
                <c:pt idx="864">
                  <c:v>40871</c:v>
                </c:pt>
                <c:pt idx="865">
                  <c:v>40872</c:v>
                </c:pt>
                <c:pt idx="866">
                  <c:v>40875</c:v>
                </c:pt>
                <c:pt idx="867">
                  <c:v>40876</c:v>
                </c:pt>
                <c:pt idx="868">
                  <c:v>40877</c:v>
                </c:pt>
                <c:pt idx="869">
                  <c:v>40878</c:v>
                </c:pt>
                <c:pt idx="870">
                  <c:v>40879</c:v>
                </c:pt>
                <c:pt idx="871">
                  <c:v>40882</c:v>
                </c:pt>
                <c:pt idx="872">
                  <c:v>40883</c:v>
                </c:pt>
                <c:pt idx="873">
                  <c:v>40884</c:v>
                </c:pt>
                <c:pt idx="874">
                  <c:v>40885</c:v>
                </c:pt>
                <c:pt idx="875">
                  <c:v>40886</c:v>
                </c:pt>
                <c:pt idx="876">
                  <c:v>40889</c:v>
                </c:pt>
                <c:pt idx="877">
                  <c:v>40890</c:v>
                </c:pt>
                <c:pt idx="878">
                  <c:v>40891</c:v>
                </c:pt>
                <c:pt idx="879">
                  <c:v>40892</c:v>
                </c:pt>
                <c:pt idx="880">
                  <c:v>40893</c:v>
                </c:pt>
                <c:pt idx="881">
                  <c:v>40896</c:v>
                </c:pt>
                <c:pt idx="882">
                  <c:v>40897</c:v>
                </c:pt>
                <c:pt idx="883">
                  <c:v>40898</c:v>
                </c:pt>
                <c:pt idx="884">
                  <c:v>40899</c:v>
                </c:pt>
                <c:pt idx="885">
                  <c:v>40900</c:v>
                </c:pt>
                <c:pt idx="886">
                  <c:v>40903</c:v>
                </c:pt>
                <c:pt idx="887">
                  <c:v>40904</c:v>
                </c:pt>
                <c:pt idx="888">
                  <c:v>40905</c:v>
                </c:pt>
                <c:pt idx="889">
                  <c:v>40906</c:v>
                </c:pt>
                <c:pt idx="890">
                  <c:v>40907</c:v>
                </c:pt>
                <c:pt idx="891">
                  <c:v>40910</c:v>
                </c:pt>
                <c:pt idx="892">
                  <c:v>40911</c:v>
                </c:pt>
                <c:pt idx="893">
                  <c:v>40912</c:v>
                </c:pt>
                <c:pt idx="894">
                  <c:v>40913</c:v>
                </c:pt>
                <c:pt idx="895">
                  <c:v>40914</c:v>
                </c:pt>
                <c:pt idx="896">
                  <c:v>40917</c:v>
                </c:pt>
                <c:pt idx="897">
                  <c:v>40918</c:v>
                </c:pt>
                <c:pt idx="898">
                  <c:v>40919</c:v>
                </c:pt>
                <c:pt idx="899">
                  <c:v>40920</c:v>
                </c:pt>
                <c:pt idx="900">
                  <c:v>40921</c:v>
                </c:pt>
                <c:pt idx="901">
                  <c:v>40924</c:v>
                </c:pt>
                <c:pt idx="902">
                  <c:v>40925</c:v>
                </c:pt>
                <c:pt idx="903">
                  <c:v>40926</c:v>
                </c:pt>
                <c:pt idx="904">
                  <c:v>40927</c:v>
                </c:pt>
                <c:pt idx="905">
                  <c:v>40928</c:v>
                </c:pt>
                <c:pt idx="906">
                  <c:v>40931</c:v>
                </c:pt>
                <c:pt idx="907">
                  <c:v>40932</c:v>
                </c:pt>
                <c:pt idx="908">
                  <c:v>40933</c:v>
                </c:pt>
                <c:pt idx="909">
                  <c:v>40934</c:v>
                </c:pt>
                <c:pt idx="910">
                  <c:v>40935</c:v>
                </c:pt>
                <c:pt idx="911">
                  <c:v>40938</c:v>
                </c:pt>
                <c:pt idx="912">
                  <c:v>40939</c:v>
                </c:pt>
                <c:pt idx="913">
                  <c:v>40940</c:v>
                </c:pt>
                <c:pt idx="914">
                  <c:v>40941</c:v>
                </c:pt>
                <c:pt idx="915">
                  <c:v>40942</c:v>
                </c:pt>
                <c:pt idx="916">
                  <c:v>40945</c:v>
                </c:pt>
                <c:pt idx="917">
                  <c:v>40946</c:v>
                </c:pt>
                <c:pt idx="918">
                  <c:v>40947</c:v>
                </c:pt>
                <c:pt idx="919">
                  <c:v>40948</c:v>
                </c:pt>
                <c:pt idx="920">
                  <c:v>40949</c:v>
                </c:pt>
                <c:pt idx="921">
                  <c:v>40952</c:v>
                </c:pt>
                <c:pt idx="922">
                  <c:v>40953</c:v>
                </c:pt>
                <c:pt idx="923">
                  <c:v>40954</c:v>
                </c:pt>
                <c:pt idx="924">
                  <c:v>40955</c:v>
                </c:pt>
                <c:pt idx="925">
                  <c:v>40956</c:v>
                </c:pt>
                <c:pt idx="926">
                  <c:v>40959</c:v>
                </c:pt>
                <c:pt idx="927">
                  <c:v>40960</c:v>
                </c:pt>
                <c:pt idx="928">
                  <c:v>40961</c:v>
                </c:pt>
                <c:pt idx="929">
                  <c:v>40962</c:v>
                </c:pt>
                <c:pt idx="930">
                  <c:v>40963</c:v>
                </c:pt>
                <c:pt idx="931">
                  <c:v>40966</c:v>
                </c:pt>
                <c:pt idx="932">
                  <c:v>40967</c:v>
                </c:pt>
                <c:pt idx="933">
                  <c:v>40968</c:v>
                </c:pt>
                <c:pt idx="934">
                  <c:v>40969</c:v>
                </c:pt>
                <c:pt idx="935">
                  <c:v>40970</c:v>
                </c:pt>
                <c:pt idx="936">
                  <c:v>40973</c:v>
                </c:pt>
                <c:pt idx="937">
                  <c:v>40974</c:v>
                </c:pt>
                <c:pt idx="938">
                  <c:v>40975</c:v>
                </c:pt>
                <c:pt idx="939">
                  <c:v>40976</c:v>
                </c:pt>
                <c:pt idx="940">
                  <c:v>40977</c:v>
                </c:pt>
                <c:pt idx="941">
                  <c:v>40980</c:v>
                </c:pt>
                <c:pt idx="942">
                  <c:v>40981</c:v>
                </c:pt>
                <c:pt idx="943">
                  <c:v>40982</c:v>
                </c:pt>
                <c:pt idx="944">
                  <c:v>40983</c:v>
                </c:pt>
                <c:pt idx="945">
                  <c:v>40984</c:v>
                </c:pt>
                <c:pt idx="946">
                  <c:v>40987</c:v>
                </c:pt>
                <c:pt idx="947">
                  <c:v>40988</c:v>
                </c:pt>
                <c:pt idx="948">
                  <c:v>40989</c:v>
                </c:pt>
                <c:pt idx="949">
                  <c:v>40990</c:v>
                </c:pt>
                <c:pt idx="950">
                  <c:v>40991</c:v>
                </c:pt>
                <c:pt idx="951">
                  <c:v>40994</c:v>
                </c:pt>
                <c:pt idx="952">
                  <c:v>40995</c:v>
                </c:pt>
                <c:pt idx="953">
                  <c:v>40996</c:v>
                </c:pt>
                <c:pt idx="954">
                  <c:v>40997</c:v>
                </c:pt>
                <c:pt idx="955">
                  <c:v>40998</c:v>
                </c:pt>
                <c:pt idx="956">
                  <c:v>41001</c:v>
                </c:pt>
                <c:pt idx="957">
                  <c:v>41002</c:v>
                </c:pt>
                <c:pt idx="958">
                  <c:v>41003</c:v>
                </c:pt>
                <c:pt idx="959">
                  <c:v>41004</c:v>
                </c:pt>
                <c:pt idx="960">
                  <c:v>41005</c:v>
                </c:pt>
                <c:pt idx="961">
                  <c:v>41008</c:v>
                </c:pt>
                <c:pt idx="962">
                  <c:v>41009</c:v>
                </c:pt>
                <c:pt idx="963">
                  <c:v>41010</c:v>
                </c:pt>
                <c:pt idx="964">
                  <c:v>41011</c:v>
                </c:pt>
                <c:pt idx="965">
                  <c:v>41012</c:v>
                </c:pt>
                <c:pt idx="966">
                  <c:v>41015</c:v>
                </c:pt>
                <c:pt idx="967">
                  <c:v>41016</c:v>
                </c:pt>
                <c:pt idx="968">
                  <c:v>41017</c:v>
                </c:pt>
                <c:pt idx="969">
                  <c:v>41018</c:v>
                </c:pt>
                <c:pt idx="970">
                  <c:v>41019</c:v>
                </c:pt>
                <c:pt idx="971">
                  <c:v>41022</c:v>
                </c:pt>
                <c:pt idx="972">
                  <c:v>41023</c:v>
                </c:pt>
                <c:pt idx="973">
                  <c:v>41024</c:v>
                </c:pt>
                <c:pt idx="974">
                  <c:v>41025</c:v>
                </c:pt>
                <c:pt idx="975">
                  <c:v>41026</c:v>
                </c:pt>
                <c:pt idx="976">
                  <c:v>41029</c:v>
                </c:pt>
                <c:pt idx="977">
                  <c:v>41030</c:v>
                </c:pt>
                <c:pt idx="978">
                  <c:v>41031</c:v>
                </c:pt>
                <c:pt idx="979">
                  <c:v>41032</c:v>
                </c:pt>
                <c:pt idx="980">
                  <c:v>41033</c:v>
                </c:pt>
                <c:pt idx="981">
                  <c:v>41036</c:v>
                </c:pt>
                <c:pt idx="982">
                  <c:v>41037</c:v>
                </c:pt>
                <c:pt idx="983">
                  <c:v>41038</c:v>
                </c:pt>
                <c:pt idx="984">
                  <c:v>41039</c:v>
                </c:pt>
                <c:pt idx="985">
                  <c:v>41040</c:v>
                </c:pt>
                <c:pt idx="986">
                  <c:v>41043</c:v>
                </c:pt>
                <c:pt idx="987">
                  <c:v>41044</c:v>
                </c:pt>
                <c:pt idx="988">
                  <c:v>41045</c:v>
                </c:pt>
                <c:pt idx="989">
                  <c:v>41046</c:v>
                </c:pt>
                <c:pt idx="990">
                  <c:v>41047</c:v>
                </c:pt>
                <c:pt idx="991">
                  <c:v>41050</c:v>
                </c:pt>
                <c:pt idx="992">
                  <c:v>41051</c:v>
                </c:pt>
                <c:pt idx="993">
                  <c:v>41052</c:v>
                </c:pt>
                <c:pt idx="994">
                  <c:v>41053</c:v>
                </c:pt>
                <c:pt idx="995">
                  <c:v>41054</c:v>
                </c:pt>
                <c:pt idx="996">
                  <c:v>41057</c:v>
                </c:pt>
                <c:pt idx="997">
                  <c:v>41058</c:v>
                </c:pt>
                <c:pt idx="998">
                  <c:v>41059</c:v>
                </c:pt>
                <c:pt idx="999">
                  <c:v>41060</c:v>
                </c:pt>
                <c:pt idx="1000">
                  <c:v>41061</c:v>
                </c:pt>
                <c:pt idx="1001">
                  <c:v>41064</c:v>
                </c:pt>
                <c:pt idx="1002">
                  <c:v>41065</c:v>
                </c:pt>
                <c:pt idx="1003">
                  <c:v>41066</c:v>
                </c:pt>
                <c:pt idx="1004">
                  <c:v>41067</c:v>
                </c:pt>
                <c:pt idx="1005">
                  <c:v>41068</c:v>
                </c:pt>
                <c:pt idx="1006">
                  <c:v>41071</c:v>
                </c:pt>
                <c:pt idx="1007">
                  <c:v>41072</c:v>
                </c:pt>
                <c:pt idx="1008">
                  <c:v>41073</c:v>
                </c:pt>
                <c:pt idx="1009">
                  <c:v>41074</c:v>
                </c:pt>
                <c:pt idx="1010">
                  <c:v>41075</c:v>
                </c:pt>
                <c:pt idx="1011">
                  <c:v>41078</c:v>
                </c:pt>
                <c:pt idx="1012">
                  <c:v>41079</c:v>
                </c:pt>
                <c:pt idx="1013">
                  <c:v>41080</c:v>
                </c:pt>
                <c:pt idx="1014">
                  <c:v>41081</c:v>
                </c:pt>
                <c:pt idx="1015">
                  <c:v>41082</c:v>
                </c:pt>
                <c:pt idx="1016">
                  <c:v>41085</c:v>
                </c:pt>
                <c:pt idx="1017">
                  <c:v>41086</c:v>
                </c:pt>
                <c:pt idx="1018">
                  <c:v>41087</c:v>
                </c:pt>
                <c:pt idx="1019">
                  <c:v>41088</c:v>
                </c:pt>
                <c:pt idx="1020">
                  <c:v>41089</c:v>
                </c:pt>
                <c:pt idx="1021">
                  <c:v>41092</c:v>
                </c:pt>
                <c:pt idx="1022">
                  <c:v>41093</c:v>
                </c:pt>
                <c:pt idx="1023">
                  <c:v>41094</c:v>
                </c:pt>
                <c:pt idx="1024">
                  <c:v>41095</c:v>
                </c:pt>
                <c:pt idx="1025">
                  <c:v>41096</c:v>
                </c:pt>
                <c:pt idx="1026">
                  <c:v>41099</c:v>
                </c:pt>
                <c:pt idx="1027">
                  <c:v>41100</c:v>
                </c:pt>
                <c:pt idx="1028">
                  <c:v>41101</c:v>
                </c:pt>
                <c:pt idx="1029">
                  <c:v>41102</c:v>
                </c:pt>
                <c:pt idx="1030">
                  <c:v>41103</c:v>
                </c:pt>
                <c:pt idx="1031">
                  <c:v>41106</c:v>
                </c:pt>
                <c:pt idx="1032">
                  <c:v>41107</c:v>
                </c:pt>
                <c:pt idx="1033">
                  <c:v>41108</c:v>
                </c:pt>
                <c:pt idx="1034">
                  <c:v>41109</c:v>
                </c:pt>
                <c:pt idx="1035">
                  <c:v>41110</c:v>
                </c:pt>
                <c:pt idx="1036">
                  <c:v>41113</c:v>
                </c:pt>
                <c:pt idx="1037">
                  <c:v>41114</c:v>
                </c:pt>
                <c:pt idx="1038">
                  <c:v>41115</c:v>
                </c:pt>
                <c:pt idx="1039">
                  <c:v>41116</c:v>
                </c:pt>
                <c:pt idx="1040">
                  <c:v>41117</c:v>
                </c:pt>
                <c:pt idx="1041">
                  <c:v>41120</c:v>
                </c:pt>
                <c:pt idx="1042">
                  <c:v>41121</c:v>
                </c:pt>
                <c:pt idx="1043">
                  <c:v>41122</c:v>
                </c:pt>
                <c:pt idx="1044">
                  <c:v>41123</c:v>
                </c:pt>
                <c:pt idx="1045">
                  <c:v>41124</c:v>
                </c:pt>
                <c:pt idx="1046">
                  <c:v>41127</c:v>
                </c:pt>
                <c:pt idx="1047">
                  <c:v>41128</c:v>
                </c:pt>
                <c:pt idx="1048">
                  <c:v>41129</c:v>
                </c:pt>
                <c:pt idx="1049">
                  <c:v>41130</c:v>
                </c:pt>
                <c:pt idx="1050">
                  <c:v>41131</c:v>
                </c:pt>
                <c:pt idx="1051">
                  <c:v>41134</c:v>
                </c:pt>
                <c:pt idx="1052">
                  <c:v>41135</c:v>
                </c:pt>
                <c:pt idx="1053">
                  <c:v>41136</c:v>
                </c:pt>
                <c:pt idx="1054">
                  <c:v>41137</c:v>
                </c:pt>
                <c:pt idx="1055">
                  <c:v>41138</c:v>
                </c:pt>
                <c:pt idx="1056">
                  <c:v>41141</c:v>
                </c:pt>
                <c:pt idx="1057">
                  <c:v>41142</c:v>
                </c:pt>
                <c:pt idx="1058">
                  <c:v>41143</c:v>
                </c:pt>
                <c:pt idx="1059">
                  <c:v>41144</c:v>
                </c:pt>
                <c:pt idx="1060">
                  <c:v>41145</c:v>
                </c:pt>
                <c:pt idx="1061">
                  <c:v>41148</c:v>
                </c:pt>
                <c:pt idx="1062">
                  <c:v>41149</c:v>
                </c:pt>
                <c:pt idx="1063">
                  <c:v>41150</c:v>
                </c:pt>
                <c:pt idx="1064">
                  <c:v>41151</c:v>
                </c:pt>
                <c:pt idx="1065">
                  <c:v>41152</c:v>
                </c:pt>
                <c:pt idx="1066">
                  <c:v>41155</c:v>
                </c:pt>
                <c:pt idx="1067">
                  <c:v>41156</c:v>
                </c:pt>
                <c:pt idx="1068">
                  <c:v>41157</c:v>
                </c:pt>
                <c:pt idx="1069">
                  <c:v>41158</c:v>
                </c:pt>
                <c:pt idx="1070">
                  <c:v>41159</c:v>
                </c:pt>
                <c:pt idx="1071">
                  <c:v>41162</c:v>
                </c:pt>
                <c:pt idx="1072">
                  <c:v>41163</c:v>
                </c:pt>
                <c:pt idx="1073">
                  <c:v>41164</c:v>
                </c:pt>
                <c:pt idx="1074">
                  <c:v>41165</c:v>
                </c:pt>
                <c:pt idx="1075">
                  <c:v>41166</c:v>
                </c:pt>
                <c:pt idx="1076">
                  <c:v>41169</c:v>
                </c:pt>
                <c:pt idx="1077">
                  <c:v>41170</c:v>
                </c:pt>
                <c:pt idx="1078">
                  <c:v>41171</c:v>
                </c:pt>
                <c:pt idx="1079">
                  <c:v>41172</c:v>
                </c:pt>
                <c:pt idx="1080">
                  <c:v>41173</c:v>
                </c:pt>
                <c:pt idx="1081">
                  <c:v>41176</c:v>
                </c:pt>
                <c:pt idx="1082">
                  <c:v>41177</c:v>
                </c:pt>
                <c:pt idx="1083">
                  <c:v>41178</c:v>
                </c:pt>
                <c:pt idx="1084">
                  <c:v>41179</c:v>
                </c:pt>
                <c:pt idx="1085">
                  <c:v>41180</c:v>
                </c:pt>
                <c:pt idx="1086">
                  <c:v>41183</c:v>
                </c:pt>
                <c:pt idx="1087">
                  <c:v>41184</c:v>
                </c:pt>
                <c:pt idx="1088">
                  <c:v>41185</c:v>
                </c:pt>
                <c:pt idx="1089">
                  <c:v>41186</c:v>
                </c:pt>
                <c:pt idx="1090">
                  <c:v>41187</c:v>
                </c:pt>
                <c:pt idx="1091">
                  <c:v>41190</c:v>
                </c:pt>
                <c:pt idx="1092">
                  <c:v>41191</c:v>
                </c:pt>
                <c:pt idx="1093">
                  <c:v>41192</c:v>
                </c:pt>
                <c:pt idx="1094">
                  <c:v>41193</c:v>
                </c:pt>
                <c:pt idx="1095">
                  <c:v>41194</c:v>
                </c:pt>
              </c:numCache>
            </c:numRef>
          </c:cat>
          <c:val>
            <c:numRef>
              <c:f>'Data for Graph'!$C$4:$C$1099</c:f>
              <c:numCache>
                <c:formatCode>0.0</c:formatCode>
                <c:ptCount val="1096"/>
                <c:pt idx="0">
                  <c:v>100</c:v>
                </c:pt>
                <c:pt idx="1">
                  <c:v>101.24163501085427</c:v>
                </c:pt>
                <c:pt idx="2">
                  <c:v>99.631676603542772</c:v>
                </c:pt>
                <c:pt idx="3">
                  <c:v>96.170355246031349</c:v>
                </c:pt>
                <c:pt idx="4">
                  <c:v>94.952753550610794</c:v>
                </c:pt>
                <c:pt idx="5">
                  <c:v>92.026182170853573</c:v>
                </c:pt>
                <c:pt idx="6">
                  <c:v>93.77775484468286</c:v>
                </c:pt>
                <c:pt idx="7">
                  <c:v>94.319123233113004</c:v>
                </c:pt>
                <c:pt idx="8">
                  <c:v>94.962480967844257</c:v>
                </c:pt>
                <c:pt idx="9">
                  <c:v>89.412902592353348</c:v>
                </c:pt>
                <c:pt idx="10">
                  <c:v>92.165958485536919</c:v>
                </c:pt>
                <c:pt idx="11">
                  <c:v>93.558061709988834</c:v>
                </c:pt>
                <c:pt idx="12">
                  <c:v>94.303050547664142</c:v>
                </c:pt>
                <c:pt idx="13">
                  <c:v>97.195247626673591</c:v>
                </c:pt>
                <c:pt idx="14">
                  <c:v>99.284750737125904</c:v>
                </c:pt>
                <c:pt idx="15">
                  <c:v>102.23161900993381</c:v>
                </c:pt>
                <c:pt idx="16">
                  <c:v>103.47898205892704</c:v>
                </c:pt>
                <c:pt idx="17">
                  <c:v>106.65649574321691</c:v>
                </c:pt>
                <c:pt idx="18">
                  <c:v>106.26262166861562</c:v>
                </c:pt>
                <c:pt idx="19">
                  <c:v>105.47881963996306</c:v>
                </c:pt>
                <c:pt idx="20">
                  <c:v>106.79749286696727</c:v>
                </c:pt>
                <c:pt idx="21">
                  <c:v>110.69882941026574</c:v>
                </c:pt>
                <c:pt idx="22">
                  <c:v>111.33061528919407</c:v>
                </c:pt>
                <c:pt idx="23">
                  <c:v>112.05240611335563</c:v>
                </c:pt>
                <c:pt idx="24">
                  <c:v>108.94468041541987</c:v>
                </c:pt>
                <c:pt idx="25">
                  <c:v>109.74386413559941</c:v>
                </c:pt>
                <c:pt idx="26">
                  <c:v>112.61938164757024</c:v>
                </c:pt>
                <c:pt idx="27">
                  <c:v>112.85538514679102</c:v>
                </c:pt>
                <c:pt idx="28">
                  <c:v>112.1396892723683</c:v>
                </c:pt>
                <c:pt idx="29">
                  <c:v>115.65862779828863</c:v>
                </c:pt>
                <c:pt idx="30">
                  <c:v>116.458496841475</c:v>
                </c:pt>
                <c:pt idx="31">
                  <c:v>118.10400825629934</c:v>
                </c:pt>
                <c:pt idx="32">
                  <c:v>124.44590995539437</c:v>
                </c:pt>
                <c:pt idx="33">
                  <c:v>127.67738151179752</c:v>
                </c:pt>
                <c:pt idx="34">
                  <c:v>131.69127058277704</c:v>
                </c:pt>
                <c:pt idx="35">
                  <c:v>128.78660273233174</c:v>
                </c:pt>
                <c:pt idx="36">
                  <c:v>130.56327345451271</c:v>
                </c:pt>
                <c:pt idx="37">
                  <c:v>126.45760294081785</c:v>
                </c:pt>
                <c:pt idx="38">
                  <c:v>123.21803846943216</c:v>
                </c:pt>
                <c:pt idx="39">
                  <c:v>125.98384460702358</c:v>
                </c:pt>
                <c:pt idx="40">
                  <c:v>130.2950017276828</c:v>
                </c:pt>
                <c:pt idx="41">
                  <c:v>128.40489763359494</c:v>
                </c:pt>
                <c:pt idx="42">
                  <c:v>131.07024755400937</c:v>
                </c:pt>
                <c:pt idx="43">
                  <c:v>132.05163547829963</c:v>
                </c:pt>
                <c:pt idx="44">
                  <c:v>132.82594276359205</c:v>
                </c:pt>
                <c:pt idx="45">
                  <c:v>130.3963594814837</c:v>
                </c:pt>
                <c:pt idx="46">
                  <c:v>137.06876019632895</c:v>
                </c:pt>
                <c:pt idx="47">
                  <c:v>140.75617831029913</c:v>
                </c:pt>
                <c:pt idx="48">
                  <c:v>138.46864706928011</c:v>
                </c:pt>
                <c:pt idx="49">
                  <c:v>137.45208218596795</c:v>
                </c:pt>
                <c:pt idx="50">
                  <c:v>138.21070347171235</c:v>
                </c:pt>
                <c:pt idx="51">
                  <c:v>140.61770253885308</c:v>
                </c:pt>
                <c:pt idx="52">
                  <c:v>142.37529371987813</c:v>
                </c:pt>
                <c:pt idx="53">
                  <c:v>145.1205588385202</c:v>
                </c:pt>
                <c:pt idx="54">
                  <c:v>146.90801298692293</c:v>
                </c:pt>
                <c:pt idx="55">
                  <c:v>147.53592927383386</c:v>
                </c:pt>
                <c:pt idx="56">
                  <c:v>147.76276080229556</c:v>
                </c:pt>
                <c:pt idx="57">
                  <c:v>151.20675952523004</c:v>
                </c:pt>
                <c:pt idx="58">
                  <c:v>153.62680467084448</c:v>
                </c:pt>
                <c:pt idx="59">
                  <c:v>152.74823242213097</c:v>
                </c:pt>
                <c:pt idx="60">
                  <c:v>155.34325054031939</c:v>
                </c:pt>
                <c:pt idx="61">
                  <c:v>153.78321781271896</c:v>
                </c:pt>
                <c:pt idx="62">
                  <c:v>149.32079174023107</c:v>
                </c:pt>
                <c:pt idx="63">
                  <c:v>147.83001575609194</c:v>
                </c:pt>
                <c:pt idx="64">
                  <c:v>153.36466674146143</c:v>
                </c:pt>
                <c:pt idx="65">
                  <c:v>158.55953252533686</c:v>
                </c:pt>
                <c:pt idx="66">
                  <c:v>159.28829647381437</c:v>
                </c:pt>
                <c:pt idx="67">
                  <c:v>158.84131496965705</c:v>
                </c:pt>
                <c:pt idx="68">
                  <c:v>157.65951253754989</c:v>
                </c:pt>
                <c:pt idx="69">
                  <c:v>160.09409378181422</c:v>
                </c:pt>
                <c:pt idx="70">
                  <c:v>154.05268164529883</c:v>
                </c:pt>
                <c:pt idx="71">
                  <c:v>151.41580135942863</c:v>
                </c:pt>
                <c:pt idx="72">
                  <c:v>153.42860638341747</c:v>
                </c:pt>
                <c:pt idx="73">
                  <c:v>153.50539221777359</c:v>
                </c:pt>
                <c:pt idx="74">
                  <c:v>155.8370234592513</c:v>
                </c:pt>
                <c:pt idx="75">
                  <c:v>156.33518459682315</c:v>
                </c:pt>
                <c:pt idx="76">
                  <c:v>155.86573307352683</c:v>
                </c:pt>
                <c:pt idx="77">
                  <c:v>158.62053371688796</c:v>
                </c:pt>
                <c:pt idx="78">
                  <c:v>156.48455872020261</c:v>
                </c:pt>
                <c:pt idx="79">
                  <c:v>154.30018448344174</c:v>
                </c:pt>
                <c:pt idx="80">
                  <c:v>154.83629222015921</c:v>
                </c:pt>
                <c:pt idx="81">
                  <c:v>153.83618430843137</c:v>
                </c:pt>
                <c:pt idx="82">
                  <c:v>151.35772261937691</c:v>
                </c:pt>
                <c:pt idx="83">
                  <c:v>145.35798477202098</c:v>
                </c:pt>
                <c:pt idx="84">
                  <c:v>145.20441000402354</c:v>
                </c:pt>
                <c:pt idx="85">
                  <c:v>146.57295741640596</c:v>
                </c:pt>
                <c:pt idx="86">
                  <c:v>144.99203549517088</c:v>
                </c:pt>
                <c:pt idx="87">
                  <c:v>147.67996479730115</c:v>
                </c:pt>
                <c:pt idx="88">
                  <c:v>149.90539818576269</c:v>
                </c:pt>
                <c:pt idx="89">
                  <c:v>147.12020555451267</c:v>
                </c:pt>
                <c:pt idx="90">
                  <c:v>145.48258684541517</c:v>
                </c:pt>
                <c:pt idx="91">
                  <c:v>149.77430369896237</c:v>
                </c:pt>
                <c:pt idx="92">
                  <c:v>146.63408302583755</c:v>
                </c:pt>
                <c:pt idx="93">
                  <c:v>147.90212130764377</c:v>
                </c:pt>
                <c:pt idx="94">
                  <c:v>148.62022554808973</c:v>
                </c:pt>
                <c:pt idx="95">
                  <c:v>152.6494213755775</c:v>
                </c:pt>
                <c:pt idx="96">
                  <c:v>152.77778482456137</c:v>
                </c:pt>
                <c:pt idx="97">
                  <c:v>154.99181270348046</c:v>
                </c:pt>
                <c:pt idx="98">
                  <c:v>156.24770936886239</c:v>
                </c:pt>
                <c:pt idx="99">
                  <c:v>161.17185905450251</c:v>
                </c:pt>
                <c:pt idx="100">
                  <c:v>163.9173656827378</c:v>
                </c:pt>
                <c:pt idx="101">
                  <c:v>165.03692407553157</c:v>
                </c:pt>
                <c:pt idx="102">
                  <c:v>166.55240033426796</c:v>
                </c:pt>
                <c:pt idx="103">
                  <c:v>166.75375542122873</c:v>
                </c:pt>
                <c:pt idx="104">
                  <c:v>171.05076755532329</c:v>
                </c:pt>
                <c:pt idx="105">
                  <c:v>171.10263519419527</c:v>
                </c:pt>
                <c:pt idx="106">
                  <c:v>174.5085709235199</c:v>
                </c:pt>
                <c:pt idx="107">
                  <c:v>176.65977995997611</c:v>
                </c:pt>
                <c:pt idx="108">
                  <c:v>182.55789939435721</c:v>
                </c:pt>
                <c:pt idx="109">
                  <c:v>187.94443145422622</c:v>
                </c:pt>
                <c:pt idx="110">
                  <c:v>187.3293982158286</c:v>
                </c:pt>
                <c:pt idx="111">
                  <c:v>186.08865852047961</c:v>
                </c:pt>
                <c:pt idx="112">
                  <c:v>187.94465748848737</c:v>
                </c:pt>
                <c:pt idx="113">
                  <c:v>185.76430725742773</c:v>
                </c:pt>
                <c:pt idx="114">
                  <c:v>188.21998605155216</c:v>
                </c:pt>
                <c:pt idx="115">
                  <c:v>188.60357835806258</c:v>
                </c:pt>
                <c:pt idx="116">
                  <c:v>190.9493342891783</c:v>
                </c:pt>
                <c:pt idx="117">
                  <c:v>195.58804136486017</c:v>
                </c:pt>
                <c:pt idx="118">
                  <c:v>197.54453973460807</c:v>
                </c:pt>
                <c:pt idx="119">
                  <c:v>190.9103064031255</c:v>
                </c:pt>
                <c:pt idx="120">
                  <c:v>188.65310100641591</c:v>
                </c:pt>
                <c:pt idx="121">
                  <c:v>186.61398619377755</c:v>
                </c:pt>
                <c:pt idx="122">
                  <c:v>188.19155618714908</c:v>
                </c:pt>
                <c:pt idx="123">
                  <c:v>192.15083195806685</c:v>
                </c:pt>
                <c:pt idx="124">
                  <c:v>194.32036850089344</c:v>
                </c:pt>
                <c:pt idx="125">
                  <c:v>196.201845878288</c:v>
                </c:pt>
                <c:pt idx="126">
                  <c:v>197.71257066854415</c:v>
                </c:pt>
                <c:pt idx="127">
                  <c:v>204.14393869227226</c:v>
                </c:pt>
                <c:pt idx="128">
                  <c:v>206.87916690968942</c:v>
                </c:pt>
                <c:pt idx="129">
                  <c:v>209.81573907483107</c:v>
                </c:pt>
                <c:pt idx="130">
                  <c:v>214.7843919192251</c:v>
                </c:pt>
                <c:pt idx="131">
                  <c:v>217.34556748587406</c:v>
                </c:pt>
                <c:pt idx="132">
                  <c:v>221.38622144514014</c:v>
                </c:pt>
                <c:pt idx="133">
                  <c:v>228.37830716226094</c:v>
                </c:pt>
                <c:pt idx="134">
                  <c:v>234.53534539875784</c:v>
                </c:pt>
                <c:pt idx="135">
                  <c:v>233.5345702593923</c:v>
                </c:pt>
                <c:pt idx="136">
                  <c:v>230.98768656556888</c:v>
                </c:pt>
                <c:pt idx="137">
                  <c:v>231.41593004685708</c:v>
                </c:pt>
                <c:pt idx="138">
                  <c:v>234.33918216068236</c:v>
                </c:pt>
                <c:pt idx="139">
                  <c:v>240.39451427116956</c:v>
                </c:pt>
                <c:pt idx="140">
                  <c:v>239.2932679047079</c:v>
                </c:pt>
                <c:pt idx="141">
                  <c:v>239.24331828889049</c:v>
                </c:pt>
                <c:pt idx="142">
                  <c:v>242.26034238331511</c:v>
                </c:pt>
                <c:pt idx="143">
                  <c:v>248.43239230713482</c:v>
                </c:pt>
                <c:pt idx="144">
                  <c:v>240.37145522200319</c:v>
                </c:pt>
                <c:pt idx="145">
                  <c:v>231.24839850619759</c:v>
                </c:pt>
                <c:pt idx="146">
                  <c:v>230.21225415332958</c:v>
                </c:pt>
                <c:pt idx="147">
                  <c:v>232.2585024167291</c:v>
                </c:pt>
                <c:pt idx="148">
                  <c:v>235.79350633380395</c:v>
                </c:pt>
                <c:pt idx="149">
                  <c:v>233.36217772880275</c:v>
                </c:pt>
                <c:pt idx="150">
                  <c:v>226.91500237563048</c:v>
                </c:pt>
                <c:pt idx="151">
                  <c:v>226.78860740475113</c:v>
                </c:pt>
                <c:pt idx="152">
                  <c:v>231.00345412056984</c:v>
                </c:pt>
                <c:pt idx="153">
                  <c:v>232.54126882595472</c:v>
                </c:pt>
                <c:pt idx="154">
                  <c:v>231.29069512236208</c:v>
                </c:pt>
                <c:pt idx="155">
                  <c:v>235.51915166374707</c:v>
                </c:pt>
                <c:pt idx="156">
                  <c:v>242.00214601979275</c:v>
                </c:pt>
                <c:pt idx="157">
                  <c:v>240.67204917929334</c:v>
                </c:pt>
                <c:pt idx="158">
                  <c:v>236.17683112352682</c:v>
                </c:pt>
                <c:pt idx="159">
                  <c:v>233.47868619903707</c:v>
                </c:pt>
                <c:pt idx="160">
                  <c:v>240.6358303792542</c:v>
                </c:pt>
                <c:pt idx="161">
                  <c:v>249.75431595991327</c:v>
                </c:pt>
                <c:pt idx="162">
                  <c:v>258.09123863466294</c:v>
                </c:pt>
                <c:pt idx="163">
                  <c:v>262.44716247631663</c:v>
                </c:pt>
                <c:pt idx="164">
                  <c:v>262.81267225771251</c:v>
                </c:pt>
                <c:pt idx="165">
                  <c:v>260.77000786955352</c:v>
                </c:pt>
                <c:pt idx="166">
                  <c:v>265.55636717806982</c:v>
                </c:pt>
                <c:pt idx="167">
                  <c:v>269.5190832097876</c:v>
                </c:pt>
                <c:pt idx="168">
                  <c:v>272.63443218856162</c:v>
                </c:pt>
                <c:pt idx="169">
                  <c:v>274.7737367417069</c:v>
                </c:pt>
                <c:pt idx="170">
                  <c:v>274.92697615619238</c:v>
                </c:pt>
                <c:pt idx="171">
                  <c:v>279.77776736006086</c:v>
                </c:pt>
                <c:pt idx="172">
                  <c:v>296.24920496740702</c:v>
                </c:pt>
                <c:pt idx="173">
                  <c:v>298.64622355360706</c:v>
                </c:pt>
                <c:pt idx="174">
                  <c:v>303.80501936917221</c:v>
                </c:pt>
                <c:pt idx="175">
                  <c:v>286.87360921502415</c:v>
                </c:pt>
                <c:pt idx="176">
                  <c:v>276.57269362466741</c:v>
                </c:pt>
                <c:pt idx="177">
                  <c:v>285.95363993780978</c:v>
                </c:pt>
                <c:pt idx="178">
                  <c:v>277.70702645087391</c:v>
                </c:pt>
                <c:pt idx="179">
                  <c:v>264.41852430321569</c:v>
                </c:pt>
                <c:pt idx="180">
                  <c:v>272.40835372661172</c:v>
                </c:pt>
                <c:pt idx="181">
                  <c:v>271.68781573970676</c:v>
                </c:pt>
                <c:pt idx="182">
                  <c:v>277.23939399797928</c:v>
                </c:pt>
                <c:pt idx="183">
                  <c:v>276.92948214789607</c:v>
                </c:pt>
                <c:pt idx="184">
                  <c:v>271.66505798270572</c:v>
                </c:pt>
                <c:pt idx="185">
                  <c:v>276.46029478375817</c:v>
                </c:pt>
                <c:pt idx="186">
                  <c:v>284.63352449337577</c:v>
                </c:pt>
                <c:pt idx="187">
                  <c:v>285.38055628573721</c:v>
                </c:pt>
                <c:pt idx="188">
                  <c:v>292.39516632250678</c:v>
                </c:pt>
                <c:pt idx="189">
                  <c:v>295.27802705888433</c:v>
                </c:pt>
                <c:pt idx="190">
                  <c:v>295.40765435082574</c:v>
                </c:pt>
                <c:pt idx="191">
                  <c:v>298.71437378875788</c:v>
                </c:pt>
                <c:pt idx="192">
                  <c:v>302.2170848880375</c:v>
                </c:pt>
                <c:pt idx="193">
                  <c:v>307.92150805367851</c:v>
                </c:pt>
                <c:pt idx="194">
                  <c:v>311.36354469738507</c:v>
                </c:pt>
                <c:pt idx="195">
                  <c:v>320.62257047946173</c:v>
                </c:pt>
                <c:pt idx="196">
                  <c:v>332.55859627353249</c:v>
                </c:pt>
                <c:pt idx="197">
                  <c:v>336.31102303677619</c:v>
                </c:pt>
                <c:pt idx="198">
                  <c:v>340.6368058003506</c:v>
                </c:pt>
                <c:pt idx="199">
                  <c:v>337.41825128793289</c:v>
                </c:pt>
                <c:pt idx="200">
                  <c:v>337.57840672907514</c:v>
                </c:pt>
                <c:pt idx="201">
                  <c:v>336.01424349088364</c:v>
                </c:pt>
                <c:pt idx="202">
                  <c:v>337.03226722094701</c:v>
                </c:pt>
                <c:pt idx="203">
                  <c:v>325.61322555896749</c:v>
                </c:pt>
                <c:pt idx="204">
                  <c:v>330.35835164817649</c:v>
                </c:pt>
                <c:pt idx="205">
                  <c:v>337.67305871356047</c:v>
                </c:pt>
                <c:pt idx="206">
                  <c:v>342.13825211623981</c:v>
                </c:pt>
                <c:pt idx="207">
                  <c:v>344.82320233601564</c:v>
                </c:pt>
                <c:pt idx="208">
                  <c:v>349.66044077096808</c:v>
                </c:pt>
                <c:pt idx="209">
                  <c:v>353.26063533521562</c:v>
                </c:pt>
                <c:pt idx="210">
                  <c:v>359.11228974687396</c:v>
                </c:pt>
                <c:pt idx="211">
                  <c:v>366.88837940277222</c:v>
                </c:pt>
                <c:pt idx="212">
                  <c:v>369.39566665051041</c:v>
                </c:pt>
                <c:pt idx="213">
                  <c:v>372.72382248202604</c:v>
                </c:pt>
                <c:pt idx="214">
                  <c:v>376.48572205433436</c:v>
                </c:pt>
                <c:pt idx="215">
                  <c:v>385.88532477912543</c:v>
                </c:pt>
                <c:pt idx="216">
                  <c:v>371.97403759268423</c:v>
                </c:pt>
                <c:pt idx="217">
                  <c:v>372.66357119385975</c:v>
                </c:pt>
                <c:pt idx="218">
                  <c:v>374.57995591142742</c:v>
                </c:pt>
                <c:pt idx="219">
                  <c:v>385.47915722684093</c:v>
                </c:pt>
                <c:pt idx="220">
                  <c:v>394.61780751495303</c:v>
                </c:pt>
                <c:pt idx="221">
                  <c:v>405.65424844836485</c:v>
                </c:pt>
                <c:pt idx="222">
                  <c:v>412.23021033209039</c:v>
                </c:pt>
                <c:pt idx="223">
                  <c:v>414.41859057252179</c:v>
                </c:pt>
                <c:pt idx="224">
                  <c:v>413.24750514147172</c:v>
                </c:pt>
                <c:pt idx="225">
                  <c:v>420.79731546620093</c:v>
                </c:pt>
                <c:pt idx="226">
                  <c:v>428.24826313019042</c:v>
                </c:pt>
                <c:pt idx="227">
                  <c:v>432.66537287892544</c:v>
                </c:pt>
                <c:pt idx="228">
                  <c:v>442.32434653494141</c:v>
                </c:pt>
                <c:pt idx="229">
                  <c:v>443.92337036904223</c:v>
                </c:pt>
                <c:pt idx="230">
                  <c:v>438.20901255523586</c:v>
                </c:pt>
                <c:pt idx="231">
                  <c:v>439.43402748105211</c:v>
                </c:pt>
                <c:pt idx="232">
                  <c:v>441.79504058855474</c:v>
                </c:pt>
                <c:pt idx="233">
                  <c:v>442.03508395239589</c:v>
                </c:pt>
                <c:pt idx="234">
                  <c:v>456.63250724141625</c:v>
                </c:pt>
                <c:pt idx="235">
                  <c:v>450.87283888301766</c:v>
                </c:pt>
                <c:pt idx="236">
                  <c:v>451.21295679256093</c:v>
                </c:pt>
                <c:pt idx="237">
                  <c:v>447.38207318636739</c:v>
                </c:pt>
                <c:pt idx="238">
                  <c:v>453.43840040232521</c:v>
                </c:pt>
                <c:pt idx="239">
                  <c:v>447.39784145086242</c:v>
                </c:pt>
                <c:pt idx="240">
                  <c:v>428.8919654024636</c:v>
                </c:pt>
                <c:pt idx="241">
                  <c:v>427.12499303050095</c:v>
                </c:pt>
                <c:pt idx="242">
                  <c:v>429.32707130362581</c:v>
                </c:pt>
                <c:pt idx="243">
                  <c:v>438.21230199894444</c:v>
                </c:pt>
                <c:pt idx="244">
                  <c:v>431.3201168880214</c:v>
                </c:pt>
                <c:pt idx="245">
                  <c:v>430.35612593366591</c:v>
                </c:pt>
                <c:pt idx="246">
                  <c:v>432.51649068777647</c:v>
                </c:pt>
                <c:pt idx="247">
                  <c:v>443.71962280810209</c:v>
                </c:pt>
                <c:pt idx="248">
                  <c:v>464.09293189659252</c:v>
                </c:pt>
                <c:pt idx="249">
                  <c:v>464.19690130189963</c:v>
                </c:pt>
                <c:pt idx="250">
                  <c:v>458.92150918011782</c:v>
                </c:pt>
                <c:pt idx="251">
                  <c:v>475.88181416912511</c:v>
                </c:pt>
                <c:pt idx="252">
                  <c:v>452.09831643514184</c:v>
                </c:pt>
                <c:pt idx="253">
                  <c:v>417.98858367516027</c:v>
                </c:pt>
                <c:pt idx="254">
                  <c:v>380.13086793269633</c:v>
                </c:pt>
                <c:pt idx="255">
                  <c:v>393.75802885898042</c:v>
                </c:pt>
                <c:pt idx="256">
                  <c:v>399.85082185802622</c:v>
                </c:pt>
                <c:pt idx="257">
                  <c:v>395.29646278242541</c:v>
                </c:pt>
                <c:pt idx="258">
                  <c:v>375.36822169155766</c:v>
                </c:pt>
                <c:pt idx="259">
                  <c:v>375.15313250877415</c:v>
                </c:pt>
                <c:pt idx="260">
                  <c:v>370.28954666034139</c:v>
                </c:pt>
                <c:pt idx="261">
                  <c:v>351.69939871556477</c:v>
                </c:pt>
                <c:pt idx="262">
                  <c:v>333.18505509532753</c:v>
                </c:pt>
                <c:pt idx="263">
                  <c:v>314.72395017224795</c:v>
                </c:pt>
                <c:pt idx="264">
                  <c:v>324.61021166638852</c:v>
                </c:pt>
                <c:pt idx="265">
                  <c:v>343.20552280367053</c:v>
                </c:pt>
                <c:pt idx="266">
                  <c:v>348.64257369672282</c:v>
                </c:pt>
                <c:pt idx="267">
                  <c:v>352.02644002543082</c:v>
                </c:pt>
                <c:pt idx="268">
                  <c:v>346.34263235221573</c:v>
                </c:pt>
                <c:pt idx="269">
                  <c:v>339.47011497701573</c:v>
                </c:pt>
                <c:pt idx="270">
                  <c:v>327.79535512886628</c:v>
                </c:pt>
                <c:pt idx="271">
                  <c:v>325.59204786804253</c:v>
                </c:pt>
                <c:pt idx="272">
                  <c:v>338.15199812576162</c:v>
                </c:pt>
                <c:pt idx="273">
                  <c:v>352.98192321835307</c:v>
                </c:pt>
                <c:pt idx="274">
                  <c:v>359.34087222271694</c:v>
                </c:pt>
                <c:pt idx="275">
                  <c:v>354.75587767041691</c:v>
                </c:pt>
                <c:pt idx="276">
                  <c:v>363.21309059000254</c:v>
                </c:pt>
                <c:pt idx="277">
                  <c:v>366.0921991744824</c:v>
                </c:pt>
                <c:pt idx="278">
                  <c:v>370.14185355934228</c:v>
                </c:pt>
                <c:pt idx="279">
                  <c:v>374.60495473220163</c:v>
                </c:pt>
                <c:pt idx="280">
                  <c:v>372.32930723467871</c:v>
                </c:pt>
                <c:pt idx="281">
                  <c:v>361.96108069517982</c:v>
                </c:pt>
                <c:pt idx="282">
                  <c:v>359.35643411928396</c:v>
                </c:pt>
                <c:pt idx="283">
                  <c:v>346.30895774157676</c:v>
                </c:pt>
                <c:pt idx="284">
                  <c:v>344.77623800559064</c:v>
                </c:pt>
                <c:pt idx="285">
                  <c:v>332.42063038836801</c:v>
                </c:pt>
                <c:pt idx="286">
                  <c:v>327.48364063181384</c:v>
                </c:pt>
                <c:pt idx="287">
                  <c:v>320.04343782662477</c:v>
                </c:pt>
                <c:pt idx="288">
                  <c:v>314.62505877769274</c:v>
                </c:pt>
                <c:pt idx="289">
                  <c:v>325.04125031672442</c:v>
                </c:pt>
                <c:pt idx="290">
                  <c:v>316.9362649669207</c:v>
                </c:pt>
                <c:pt idx="291">
                  <c:v>313.16092827151482</c:v>
                </c:pt>
                <c:pt idx="292">
                  <c:v>317.07354923740036</c:v>
                </c:pt>
                <c:pt idx="293">
                  <c:v>317.44050257547082</c:v>
                </c:pt>
                <c:pt idx="294">
                  <c:v>320.94819771999471</c:v>
                </c:pt>
                <c:pt idx="295">
                  <c:v>320.36932513493434</c:v>
                </c:pt>
                <c:pt idx="296">
                  <c:v>310.91859806193787</c:v>
                </c:pt>
                <c:pt idx="297">
                  <c:v>316.84701691677691</c:v>
                </c:pt>
                <c:pt idx="298">
                  <c:v>318.21211729557604</c:v>
                </c:pt>
                <c:pt idx="299">
                  <c:v>309.45363396654915</c:v>
                </c:pt>
                <c:pt idx="300">
                  <c:v>280.68638879067043</c:v>
                </c:pt>
                <c:pt idx="301">
                  <c:v>298.38695233183932</c:v>
                </c:pt>
                <c:pt idx="302">
                  <c:v>251.55600842234466</c:v>
                </c:pt>
                <c:pt idx="303">
                  <c:v>340.44753855008327</c:v>
                </c:pt>
                <c:pt idx="304">
                  <c:v>301.51764358472121</c:v>
                </c:pt>
                <c:pt idx="305">
                  <c:v>296.99379491437844</c:v>
                </c:pt>
                <c:pt idx="306">
                  <c:v>283.01130282118282</c:v>
                </c:pt>
                <c:pt idx="307">
                  <c:v>262.82788900009052</c:v>
                </c:pt>
                <c:pt idx="308">
                  <c:v>264.74963702989027</c:v>
                </c:pt>
                <c:pt idx="309">
                  <c:v>272.33159367244173</c:v>
                </c:pt>
                <c:pt idx="310">
                  <c:v>273.16902210564746</c:v>
                </c:pt>
                <c:pt idx="311">
                  <c:v>258.74724395794186</c:v>
                </c:pt>
                <c:pt idx="312">
                  <c:v>268.76803139974925</c:v>
                </c:pt>
                <c:pt idx="313">
                  <c:v>282.03835996040465</c:v>
                </c:pt>
                <c:pt idx="314">
                  <c:v>256.96097685855807</c:v>
                </c:pt>
                <c:pt idx="315">
                  <c:v>242.7899255415428</c:v>
                </c:pt>
                <c:pt idx="316">
                  <c:v>246.90150586359474</c:v>
                </c:pt>
                <c:pt idx="317">
                  <c:v>249.97671660972733</c:v>
                </c:pt>
                <c:pt idx="318">
                  <c:v>255.28535320571325</c:v>
                </c:pt>
                <c:pt idx="319">
                  <c:v>241.8496725551168</c:v>
                </c:pt>
                <c:pt idx="320">
                  <c:v>224.63589477145166</c:v>
                </c:pt>
                <c:pt idx="321">
                  <c:v>216.08636343143203</c:v>
                </c:pt>
                <c:pt idx="322">
                  <c:v>217.71256323053433</c:v>
                </c:pt>
                <c:pt idx="323">
                  <c:v>224.30951771663382</c:v>
                </c:pt>
                <c:pt idx="324">
                  <c:v>236.58812077800869</c:v>
                </c:pt>
                <c:pt idx="325">
                  <c:v>243.71665404993959</c:v>
                </c:pt>
                <c:pt idx="326">
                  <c:v>254.44291593538523</c:v>
                </c:pt>
                <c:pt idx="327">
                  <c:v>258.60806354869584</c:v>
                </c:pt>
                <c:pt idx="328">
                  <c:v>257.56554607399812</c:v>
                </c:pt>
                <c:pt idx="329">
                  <c:v>258.97478768380807</c:v>
                </c:pt>
                <c:pt idx="330">
                  <c:v>262.05083840875261</c:v>
                </c:pt>
                <c:pt idx="331">
                  <c:v>254.84303206563891</c:v>
                </c:pt>
                <c:pt idx="332">
                  <c:v>254.00566674210526</c:v>
                </c:pt>
                <c:pt idx="333">
                  <c:v>252.18846258675617</c:v>
                </c:pt>
                <c:pt idx="334">
                  <c:v>268.09532434902184</c:v>
                </c:pt>
                <c:pt idx="335">
                  <c:v>272.99204576482146</c:v>
                </c:pt>
                <c:pt idx="336">
                  <c:v>263.08144796586555</c:v>
                </c:pt>
                <c:pt idx="337">
                  <c:v>262.51770924490199</c:v>
                </c:pt>
                <c:pt idx="338">
                  <c:v>273.70875270706978</c:v>
                </c:pt>
                <c:pt idx="339">
                  <c:v>262.17840580867534</c:v>
                </c:pt>
                <c:pt idx="340">
                  <c:v>272.38787862288262</c:v>
                </c:pt>
                <c:pt idx="341">
                  <c:v>277.50190787690752</c:v>
                </c:pt>
                <c:pt idx="342">
                  <c:v>283.69415732545605</c:v>
                </c:pt>
                <c:pt idx="343">
                  <c:v>288.23703632110806</c:v>
                </c:pt>
                <c:pt idx="344">
                  <c:v>293.13466451704556</c:v>
                </c:pt>
                <c:pt idx="345">
                  <c:v>277.61814011436837</c:v>
                </c:pt>
                <c:pt idx="346">
                  <c:v>279.57299508122321</c:v>
                </c:pt>
                <c:pt idx="347">
                  <c:v>272.38332038521321</c:v>
                </c:pt>
                <c:pt idx="348">
                  <c:v>275.95600304760274</c:v>
                </c:pt>
                <c:pt idx="349">
                  <c:v>281.5317461000746</c:v>
                </c:pt>
                <c:pt idx="350">
                  <c:v>277.76248184111927</c:v>
                </c:pt>
                <c:pt idx="351">
                  <c:v>280.44195462140573</c:v>
                </c:pt>
                <c:pt idx="352">
                  <c:v>280.88444951448713</c:v>
                </c:pt>
                <c:pt idx="353">
                  <c:v>289.05530843955205</c:v>
                </c:pt>
                <c:pt idx="354">
                  <c:v>291.74609315579323</c:v>
                </c:pt>
                <c:pt idx="355">
                  <c:v>278.76321935028176</c:v>
                </c:pt>
                <c:pt idx="356">
                  <c:v>273.08172951961183</c:v>
                </c:pt>
                <c:pt idx="357">
                  <c:v>282.29798561656645</c:v>
                </c:pt>
                <c:pt idx="358">
                  <c:v>285.28444783551197</c:v>
                </c:pt>
                <c:pt idx="359">
                  <c:v>279.47438868463973</c:v>
                </c:pt>
                <c:pt idx="360">
                  <c:v>276.32902020467714</c:v>
                </c:pt>
                <c:pt idx="361">
                  <c:v>274.97389645127055</c:v>
                </c:pt>
                <c:pt idx="362">
                  <c:v>275.2767415145251</c:v>
                </c:pt>
                <c:pt idx="363">
                  <c:v>272.71231053855922</c:v>
                </c:pt>
                <c:pt idx="364">
                  <c:v>272.43193505552324</c:v>
                </c:pt>
                <c:pt idx="365">
                  <c:v>272.43193505552324</c:v>
                </c:pt>
                <c:pt idx="366">
                  <c:v>273.58334550913173</c:v>
                </c:pt>
                <c:pt idx="367">
                  <c:v>274.3431713040053</c:v>
                </c:pt>
                <c:pt idx="368">
                  <c:v>276.37911472834617</c:v>
                </c:pt>
                <c:pt idx="369">
                  <c:v>276.37911472834617</c:v>
                </c:pt>
                <c:pt idx="370">
                  <c:v>276.37911472834617</c:v>
                </c:pt>
                <c:pt idx="371">
                  <c:v>277.82215818047308</c:v>
                </c:pt>
                <c:pt idx="372">
                  <c:v>281.02796198600277</c:v>
                </c:pt>
                <c:pt idx="373">
                  <c:v>280.80702841302258</c:v>
                </c:pt>
                <c:pt idx="374">
                  <c:v>281.05743708695172</c:v>
                </c:pt>
                <c:pt idx="375">
                  <c:v>282.00453152650664</c:v>
                </c:pt>
                <c:pt idx="376">
                  <c:v>281.60997915339982</c:v>
                </c:pt>
                <c:pt idx="377">
                  <c:v>280.05020028726153</c:v>
                </c:pt>
                <c:pt idx="378">
                  <c:v>281.29759069279908</c:v>
                </c:pt>
                <c:pt idx="379">
                  <c:v>285.86368231206683</c:v>
                </c:pt>
                <c:pt idx="380">
                  <c:v>286.78250549828834</c:v>
                </c:pt>
                <c:pt idx="381">
                  <c:v>286.3011066604866</c:v>
                </c:pt>
                <c:pt idx="382">
                  <c:v>285.95507009067791</c:v>
                </c:pt>
                <c:pt idx="383">
                  <c:v>286.6031060063936</c:v>
                </c:pt>
                <c:pt idx="384">
                  <c:v>282.9226542779171</c:v>
                </c:pt>
                <c:pt idx="385">
                  <c:v>277.28548942440943</c:v>
                </c:pt>
                <c:pt idx="386">
                  <c:v>276.94566771504128</c:v>
                </c:pt>
                <c:pt idx="387">
                  <c:v>279.05371864501944</c:v>
                </c:pt>
                <c:pt idx="388">
                  <c:v>276.78869862330373</c:v>
                </c:pt>
                <c:pt idx="389">
                  <c:v>277.24279726740679</c:v>
                </c:pt>
                <c:pt idx="390">
                  <c:v>280.50509803415258</c:v>
                </c:pt>
                <c:pt idx="391">
                  <c:v>282.69049112509225</c:v>
                </c:pt>
                <c:pt idx="392">
                  <c:v>286.20024068497889</c:v>
                </c:pt>
                <c:pt idx="393">
                  <c:v>285.62947648020884</c:v>
                </c:pt>
                <c:pt idx="394">
                  <c:v>280.62649195474773</c:v>
                </c:pt>
                <c:pt idx="395">
                  <c:v>275.46392018323951</c:v>
                </c:pt>
                <c:pt idx="396">
                  <c:v>278.48678135235951</c:v>
                </c:pt>
                <c:pt idx="397">
                  <c:v>280.26419311968738</c:v>
                </c:pt>
                <c:pt idx="398">
                  <c:v>283.03021273186675</c:v>
                </c:pt>
                <c:pt idx="399">
                  <c:v>282.25695265806581</c:v>
                </c:pt>
                <c:pt idx="400">
                  <c:v>286.65400534406803</c:v>
                </c:pt>
                <c:pt idx="401">
                  <c:v>284.75721891755217</c:v>
                </c:pt>
                <c:pt idx="402">
                  <c:v>287.40661515572629</c:v>
                </c:pt>
                <c:pt idx="403">
                  <c:v>287.48270126887638</c:v>
                </c:pt>
                <c:pt idx="404">
                  <c:v>290.89809578625699</c:v>
                </c:pt>
                <c:pt idx="405">
                  <c:v>290.64199619123428</c:v>
                </c:pt>
                <c:pt idx="406">
                  <c:v>294.95029555183282</c:v>
                </c:pt>
                <c:pt idx="407">
                  <c:v>290.76516612034101</c:v>
                </c:pt>
                <c:pt idx="408">
                  <c:v>293.88978312359683</c:v>
                </c:pt>
                <c:pt idx="409">
                  <c:v>293.36544899062034</c:v>
                </c:pt>
                <c:pt idx="410">
                  <c:v>293.59789466824952</c:v>
                </c:pt>
                <c:pt idx="411">
                  <c:v>291.91067325416907</c:v>
                </c:pt>
                <c:pt idx="412">
                  <c:v>294.75967507576848</c:v>
                </c:pt>
                <c:pt idx="413">
                  <c:v>297.52923752920219</c:v>
                </c:pt>
                <c:pt idx="414">
                  <c:v>298.87441463288309</c:v>
                </c:pt>
                <c:pt idx="415">
                  <c:v>301.99303666666515</c:v>
                </c:pt>
                <c:pt idx="416">
                  <c:v>301.86650384538683</c:v>
                </c:pt>
                <c:pt idx="417">
                  <c:v>304.77715940190859</c:v>
                </c:pt>
                <c:pt idx="418">
                  <c:v>306.28053372520145</c:v>
                </c:pt>
                <c:pt idx="419">
                  <c:v>306.9558089350046</c:v>
                </c:pt>
                <c:pt idx="420">
                  <c:v>304.7218246518338</c:v>
                </c:pt>
                <c:pt idx="421">
                  <c:v>303.51107131033785</c:v>
                </c:pt>
                <c:pt idx="422">
                  <c:v>306.05823797070167</c:v>
                </c:pt>
                <c:pt idx="423">
                  <c:v>306.39563138937433</c:v>
                </c:pt>
                <c:pt idx="424">
                  <c:v>306.72954131822098</c:v>
                </c:pt>
                <c:pt idx="425">
                  <c:v>307.53050609607777</c:v>
                </c:pt>
                <c:pt idx="426">
                  <c:v>306.75304044077097</c:v>
                </c:pt>
                <c:pt idx="427">
                  <c:v>306.8311936601454</c:v>
                </c:pt>
                <c:pt idx="428">
                  <c:v>310.56612350260758</c:v>
                </c:pt>
                <c:pt idx="429">
                  <c:v>313.328322723344</c:v>
                </c:pt>
                <c:pt idx="430">
                  <c:v>312.65866785715474</c:v>
                </c:pt>
                <c:pt idx="431">
                  <c:v>313.3763947475166</c:v>
                </c:pt>
                <c:pt idx="432">
                  <c:v>309.16066688120452</c:v>
                </c:pt>
                <c:pt idx="433">
                  <c:v>309.03391815311284</c:v>
                </c:pt>
                <c:pt idx="434">
                  <c:v>310.49156659712929</c:v>
                </c:pt>
                <c:pt idx="435">
                  <c:v>310.49156659712929</c:v>
                </c:pt>
                <c:pt idx="436">
                  <c:v>310.49156659712929</c:v>
                </c:pt>
                <c:pt idx="437">
                  <c:v>314.29358482899903</c:v>
                </c:pt>
                <c:pt idx="438">
                  <c:v>311.14884543080865</c:v>
                </c:pt>
                <c:pt idx="439">
                  <c:v>311.63056798936685</c:v>
                </c:pt>
                <c:pt idx="440">
                  <c:v>315.21613829640637</c:v>
                </c:pt>
                <c:pt idx="441">
                  <c:v>316.66350771890177</c:v>
                </c:pt>
                <c:pt idx="442">
                  <c:v>315.01690879592309</c:v>
                </c:pt>
                <c:pt idx="443">
                  <c:v>320.41134194253743</c:v>
                </c:pt>
                <c:pt idx="444">
                  <c:v>321.69532388312552</c:v>
                </c:pt>
                <c:pt idx="445">
                  <c:v>318.33009033059534</c:v>
                </c:pt>
                <c:pt idx="446">
                  <c:v>314.05630833878655</c:v>
                </c:pt>
                <c:pt idx="447">
                  <c:v>320.32479322952406</c:v>
                </c:pt>
                <c:pt idx="448">
                  <c:v>322.5270571632895</c:v>
                </c:pt>
                <c:pt idx="449">
                  <c:v>322.58532206516963</c:v>
                </c:pt>
                <c:pt idx="450">
                  <c:v>326.76432686143693</c:v>
                </c:pt>
                <c:pt idx="451">
                  <c:v>330.35708001895182</c:v>
                </c:pt>
                <c:pt idx="452">
                  <c:v>323.59118505620387</c:v>
                </c:pt>
                <c:pt idx="453">
                  <c:v>317.56202391433226</c:v>
                </c:pt>
                <c:pt idx="454">
                  <c:v>316.80140817475291</c:v>
                </c:pt>
                <c:pt idx="455">
                  <c:v>320.7189477193819</c:v>
                </c:pt>
                <c:pt idx="456">
                  <c:v>320.55228065830244</c:v>
                </c:pt>
                <c:pt idx="457">
                  <c:v>312.74904537329422</c:v>
                </c:pt>
                <c:pt idx="458">
                  <c:v>307.83620373831673</c:v>
                </c:pt>
                <c:pt idx="459">
                  <c:v>302.30813722304725</c:v>
                </c:pt>
                <c:pt idx="460">
                  <c:v>297.35089331456066</c:v>
                </c:pt>
                <c:pt idx="461">
                  <c:v>306.6922621769304</c:v>
                </c:pt>
                <c:pt idx="462">
                  <c:v>304.62300358906094</c:v>
                </c:pt>
                <c:pt idx="463">
                  <c:v>309.40699161892888</c:v>
                </c:pt>
                <c:pt idx="464">
                  <c:v>309.72492596395455</c:v>
                </c:pt>
                <c:pt idx="465">
                  <c:v>304.15060884987332</c:v>
                </c:pt>
                <c:pt idx="466">
                  <c:v>302.94429921084463</c:v>
                </c:pt>
                <c:pt idx="467">
                  <c:v>305.59871766391592</c:v>
                </c:pt>
                <c:pt idx="468">
                  <c:v>300.08347351782317</c:v>
                </c:pt>
                <c:pt idx="469">
                  <c:v>291.32922614753483</c:v>
                </c:pt>
                <c:pt idx="470">
                  <c:v>288.66446748007974</c:v>
                </c:pt>
                <c:pt idx="471">
                  <c:v>288.41221571734769</c:v>
                </c:pt>
                <c:pt idx="472">
                  <c:v>281.64108012705975</c:v>
                </c:pt>
                <c:pt idx="473">
                  <c:v>297.06101507183809</c:v>
                </c:pt>
                <c:pt idx="474">
                  <c:v>304.92069703738258</c:v>
                </c:pt>
                <c:pt idx="475">
                  <c:v>305.78491647687696</c:v>
                </c:pt>
                <c:pt idx="476">
                  <c:v>307.39204469828405</c:v>
                </c:pt>
                <c:pt idx="477">
                  <c:v>305.75593465314279</c:v>
                </c:pt>
                <c:pt idx="478">
                  <c:v>307.16950066611514</c:v>
                </c:pt>
                <c:pt idx="479">
                  <c:v>310.78322684261082</c:v>
                </c:pt>
                <c:pt idx="480">
                  <c:v>310.44138886299618</c:v>
                </c:pt>
                <c:pt idx="481">
                  <c:v>307.60742786395389</c:v>
                </c:pt>
                <c:pt idx="482">
                  <c:v>304.82793073710087</c:v>
                </c:pt>
                <c:pt idx="483">
                  <c:v>306.22599541348336</c:v>
                </c:pt>
                <c:pt idx="484">
                  <c:v>311.07644819548182</c:v>
                </c:pt>
                <c:pt idx="485">
                  <c:v>311.20941643834448</c:v>
                </c:pt>
                <c:pt idx="486">
                  <c:v>314.46576848408472</c:v>
                </c:pt>
                <c:pt idx="487">
                  <c:v>316.20281837102465</c:v>
                </c:pt>
                <c:pt idx="488">
                  <c:v>315.64231388229081</c:v>
                </c:pt>
                <c:pt idx="489">
                  <c:v>316.29160643760082</c:v>
                </c:pt>
                <c:pt idx="490">
                  <c:v>313.57209646375628</c:v>
                </c:pt>
                <c:pt idx="491">
                  <c:v>317.98477798597037</c:v>
                </c:pt>
                <c:pt idx="492">
                  <c:v>318.24141137542807</c:v>
                </c:pt>
                <c:pt idx="493">
                  <c:v>317.66357821005749</c:v>
                </c:pt>
                <c:pt idx="494">
                  <c:v>314.2780928094499</c:v>
                </c:pt>
                <c:pt idx="495">
                  <c:v>310.67426278038579</c:v>
                </c:pt>
                <c:pt idx="496">
                  <c:v>313.00837791968831</c:v>
                </c:pt>
                <c:pt idx="497">
                  <c:v>311.29185486137777</c:v>
                </c:pt>
                <c:pt idx="498">
                  <c:v>313.07091043012923</c:v>
                </c:pt>
                <c:pt idx="499">
                  <c:v>306.55924632778402</c:v>
                </c:pt>
                <c:pt idx="500">
                  <c:v>304.40466860616993</c:v>
                </c:pt>
                <c:pt idx="501">
                  <c:v>303.67968080516334</c:v>
                </c:pt>
                <c:pt idx="502">
                  <c:v>305.7785868650418</c:v>
                </c:pt>
                <c:pt idx="503">
                  <c:v>305.38038814732641</c:v>
                </c:pt>
                <c:pt idx="504">
                  <c:v>307.75851882278499</c:v>
                </c:pt>
                <c:pt idx="505">
                  <c:v>308.77040520265552</c:v>
                </c:pt>
                <c:pt idx="506">
                  <c:v>306.53472469475429</c:v>
                </c:pt>
                <c:pt idx="507">
                  <c:v>308.52456812669186</c:v>
                </c:pt>
                <c:pt idx="508">
                  <c:v>309.98407413158827</c:v>
                </c:pt>
                <c:pt idx="509">
                  <c:v>307.00833551504064</c:v>
                </c:pt>
                <c:pt idx="510">
                  <c:v>306.39281277684285</c:v>
                </c:pt>
                <c:pt idx="511">
                  <c:v>304.60231264133824</c:v>
                </c:pt>
                <c:pt idx="512">
                  <c:v>304.17112596198143</c:v>
                </c:pt>
                <c:pt idx="513">
                  <c:v>308.41925768853059</c:v>
                </c:pt>
                <c:pt idx="514">
                  <c:v>309.74009836815975</c:v>
                </c:pt>
                <c:pt idx="515">
                  <c:v>310.03060721493102</c:v>
                </c:pt>
                <c:pt idx="516">
                  <c:v>311.54999783594496</c:v>
                </c:pt>
                <c:pt idx="517">
                  <c:v>316.99375484780313</c:v>
                </c:pt>
                <c:pt idx="518">
                  <c:v>314.56582051414307</c:v>
                </c:pt>
                <c:pt idx="519">
                  <c:v>315.102216360157</c:v>
                </c:pt>
                <c:pt idx="520">
                  <c:v>314.94590772788729</c:v>
                </c:pt>
                <c:pt idx="521">
                  <c:v>317.71851460490171</c:v>
                </c:pt>
                <c:pt idx="522">
                  <c:v>322.92506823535547</c:v>
                </c:pt>
                <c:pt idx="523">
                  <c:v>323.11446773231933</c:v>
                </c:pt>
                <c:pt idx="524">
                  <c:v>323.34646771333411</c:v>
                </c:pt>
                <c:pt idx="525">
                  <c:v>321.08501719784715</c:v>
                </c:pt>
                <c:pt idx="526">
                  <c:v>321.95426295494815</c:v>
                </c:pt>
                <c:pt idx="527">
                  <c:v>322.70318724735915</c:v>
                </c:pt>
                <c:pt idx="528">
                  <c:v>318.6048302129588</c:v>
                </c:pt>
                <c:pt idx="529">
                  <c:v>316.65220110589212</c:v>
                </c:pt>
                <c:pt idx="530">
                  <c:v>311.42969648189256</c:v>
                </c:pt>
                <c:pt idx="531">
                  <c:v>310.02775108596126</c:v>
                </c:pt>
                <c:pt idx="532">
                  <c:v>312.65650840413718</c:v>
                </c:pt>
                <c:pt idx="533">
                  <c:v>314.06916303357406</c:v>
                </c:pt>
                <c:pt idx="534">
                  <c:v>308.96896356491743</c:v>
                </c:pt>
                <c:pt idx="535">
                  <c:v>307.10849257279671</c:v>
                </c:pt>
                <c:pt idx="536">
                  <c:v>306.79763857298929</c:v>
                </c:pt>
                <c:pt idx="537">
                  <c:v>307.28582258750657</c:v>
                </c:pt>
                <c:pt idx="538">
                  <c:v>307.06995485188463</c:v>
                </c:pt>
                <c:pt idx="539">
                  <c:v>308.48303512274794</c:v>
                </c:pt>
                <c:pt idx="540">
                  <c:v>313.1783271694872</c:v>
                </c:pt>
                <c:pt idx="541">
                  <c:v>314.79734499977832</c:v>
                </c:pt>
                <c:pt idx="542">
                  <c:v>313.68328930676017</c:v>
                </c:pt>
                <c:pt idx="543">
                  <c:v>318.37769678506658</c:v>
                </c:pt>
                <c:pt idx="544">
                  <c:v>320.40330204601946</c:v>
                </c:pt>
                <c:pt idx="545">
                  <c:v>321.04053138850702</c:v>
                </c:pt>
                <c:pt idx="546">
                  <c:v>322.59796735626793</c:v>
                </c:pt>
                <c:pt idx="547">
                  <c:v>322.0137772161936</c:v>
                </c:pt>
                <c:pt idx="548">
                  <c:v>323.66670747833206</c:v>
                </c:pt>
                <c:pt idx="549">
                  <c:v>323.55136403937126</c:v>
                </c:pt>
                <c:pt idx="550">
                  <c:v>322.91149457769717</c:v>
                </c:pt>
                <c:pt idx="551">
                  <c:v>327.07040819644243</c:v>
                </c:pt>
                <c:pt idx="552">
                  <c:v>326.78869224902036</c:v>
                </c:pt>
                <c:pt idx="553">
                  <c:v>326.42731516353354</c:v>
                </c:pt>
                <c:pt idx="554">
                  <c:v>328.9050415718217</c:v>
                </c:pt>
                <c:pt idx="555">
                  <c:v>324.89564737702381</c:v>
                </c:pt>
                <c:pt idx="556">
                  <c:v>328.95790931140453</c:v>
                </c:pt>
                <c:pt idx="557">
                  <c:v>329.92910396052218</c:v>
                </c:pt>
                <c:pt idx="558">
                  <c:v>324.5993576087921</c:v>
                </c:pt>
                <c:pt idx="559">
                  <c:v>325.75604834047704</c:v>
                </c:pt>
                <c:pt idx="560">
                  <c:v>326.90448522734914</c:v>
                </c:pt>
                <c:pt idx="561">
                  <c:v>328.88823806611509</c:v>
                </c:pt>
                <c:pt idx="562">
                  <c:v>327.76536606093237</c:v>
                </c:pt>
                <c:pt idx="563">
                  <c:v>330.10600640690279</c:v>
                </c:pt>
                <c:pt idx="564">
                  <c:v>328.45661259467533</c:v>
                </c:pt>
                <c:pt idx="565">
                  <c:v>329.100205335917</c:v>
                </c:pt>
                <c:pt idx="566">
                  <c:v>327.28731296077711</c:v>
                </c:pt>
                <c:pt idx="567">
                  <c:v>328.8586812162909</c:v>
                </c:pt>
                <c:pt idx="568">
                  <c:v>328.88532354700004</c:v>
                </c:pt>
                <c:pt idx="569">
                  <c:v>332.51861476439353</c:v>
                </c:pt>
                <c:pt idx="570">
                  <c:v>334.33320371318382</c:v>
                </c:pt>
                <c:pt idx="571">
                  <c:v>337.508880189612</c:v>
                </c:pt>
                <c:pt idx="572">
                  <c:v>337.19468080796537</c:v>
                </c:pt>
                <c:pt idx="573">
                  <c:v>339.27895422325764</c:v>
                </c:pt>
                <c:pt idx="574">
                  <c:v>341.11622981127516</c:v>
                </c:pt>
                <c:pt idx="575">
                  <c:v>339.3970150072924</c:v>
                </c:pt>
                <c:pt idx="576">
                  <c:v>337.45170970433679</c:v>
                </c:pt>
                <c:pt idx="577">
                  <c:v>337.37240027689859</c:v>
                </c:pt>
                <c:pt idx="578">
                  <c:v>340.5758378673292</c:v>
                </c:pt>
                <c:pt idx="579">
                  <c:v>344.56397907823555</c:v>
                </c:pt>
                <c:pt idx="580">
                  <c:v>345.08862821747255</c:v>
                </c:pt>
                <c:pt idx="581">
                  <c:v>349.93215905421908</c:v>
                </c:pt>
                <c:pt idx="582">
                  <c:v>351.06441445957159</c:v>
                </c:pt>
                <c:pt idx="583">
                  <c:v>354.81319321413901</c:v>
                </c:pt>
                <c:pt idx="584">
                  <c:v>359.73297337536155</c:v>
                </c:pt>
                <c:pt idx="585">
                  <c:v>363.18649375742683</c:v>
                </c:pt>
                <c:pt idx="586">
                  <c:v>361.74069136656249</c:v>
                </c:pt>
                <c:pt idx="587">
                  <c:v>366.30382399276726</c:v>
                </c:pt>
                <c:pt idx="588">
                  <c:v>369.68069138307885</c:v>
                </c:pt>
                <c:pt idx="589">
                  <c:v>380.118791419964</c:v>
                </c:pt>
                <c:pt idx="590">
                  <c:v>380.17784795205012</c:v>
                </c:pt>
                <c:pt idx="591">
                  <c:v>379.13129557704974</c:v>
                </c:pt>
                <c:pt idx="592">
                  <c:v>380.17534540253826</c:v>
                </c:pt>
                <c:pt idx="593">
                  <c:v>376.66256013462589</c:v>
                </c:pt>
                <c:pt idx="594">
                  <c:v>373.61433338561932</c:v>
                </c:pt>
                <c:pt idx="595">
                  <c:v>374.33898732630644</c:v>
                </c:pt>
                <c:pt idx="596">
                  <c:v>376.59359366594845</c:v>
                </c:pt>
                <c:pt idx="597">
                  <c:v>376.02666437783353</c:v>
                </c:pt>
                <c:pt idx="598">
                  <c:v>374.58576010009375</c:v>
                </c:pt>
                <c:pt idx="599">
                  <c:v>379.94689593924323</c:v>
                </c:pt>
                <c:pt idx="600">
                  <c:v>379.94168768286221</c:v>
                </c:pt>
                <c:pt idx="601">
                  <c:v>380.260390047182</c:v>
                </c:pt>
                <c:pt idx="602">
                  <c:v>371.35113306146371</c:v>
                </c:pt>
                <c:pt idx="603">
                  <c:v>377.32996057295327</c:v>
                </c:pt>
                <c:pt idx="604">
                  <c:v>377.59240303864914</c:v>
                </c:pt>
                <c:pt idx="605">
                  <c:v>378.97251252712567</c:v>
                </c:pt>
                <c:pt idx="606">
                  <c:v>382.65739858047294</c:v>
                </c:pt>
                <c:pt idx="607">
                  <c:v>380.34184430423579</c:v>
                </c:pt>
                <c:pt idx="608">
                  <c:v>385.96967594792068</c:v>
                </c:pt>
                <c:pt idx="609">
                  <c:v>391.11434010725657</c:v>
                </c:pt>
                <c:pt idx="610">
                  <c:v>392.09431436835433</c:v>
                </c:pt>
                <c:pt idx="611">
                  <c:v>395.73972596007326</c:v>
                </c:pt>
                <c:pt idx="612">
                  <c:v>396.2279246331625</c:v>
                </c:pt>
                <c:pt idx="613">
                  <c:v>396.41909716019444</c:v>
                </c:pt>
                <c:pt idx="614">
                  <c:v>391.07029298790457</c:v>
                </c:pt>
                <c:pt idx="615">
                  <c:v>394.83655499420564</c:v>
                </c:pt>
                <c:pt idx="616">
                  <c:v>395.21147178470511</c:v>
                </c:pt>
                <c:pt idx="617">
                  <c:v>398.55730157578517</c:v>
                </c:pt>
                <c:pt idx="618">
                  <c:v>396.3289737214883</c:v>
                </c:pt>
                <c:pt idx="619">
                  <c:v>394.93365198654061</c:v>
                </c:pt>
                <c:pt idx="620">
                  <c:v>395.73906459992025</c:v>
                </c:pt>
                <c:pt idx="621">
                  <c:v>401.68277354190894</c:v>
                </c:pt>
                <c:pt idx="622">
                  <c:v>407.55357807527184</c:v>
                </c:pt>
                <c:pt idx="623">
                  <c:v>405.98036548381538</c:v>
                </c:pt>
                <c:pt idx="624">
                  <c:v>408.92877123151493</c:v>
                </c:pt>
                <c:pt idx="625">
                  <c:v>408.92877123151493</c:v>
                </c:pt>
                <c:pt idx="626">
                  <c:v>403.5221767759657</c:v>
                </c:pt>
                <c:pt idx="627">
                  <c:v>404.37797551052631</c:v>
                </c:pt>
                <c:pt idx="628">
                  <c:v>406.62665172508412</c:v>
                </c:pt>
                <c:pt idx="629">
                  <c:v>408.13491380789702</c:v>
                </c:pt>
                <c:pt idx="630">
                  <c:v>408.13491380789702</c:v>
                </c:pt>
                <c:pt idx="631">
                  <c:v>415.6322036472036</c:v>
                </c:pt>
                <c:pt idx="632">
                  <c:v>414.27482427687312</c:v>
                </c:pt>
                <c:pt idx="633">
                  <c:v>415.23784475712023</c:v>
                </c:pt>
                <c:pt idx="634">
                  <c:v>414.65919640305327</c:v>
                </c:pt>
                <c:pt idx="635">
                  <c:v>419.31594567125012</c:v>
                </c:pt>
                <c:pt idx="636">
                  <c:v>414.40663286742966</c:v>
                </c:pt>
                <c:pt idx="637">
                  <c:v>413.95176620990077</c:v>
                </c:pt>
                <c:pt idx="638">
                  <c:v>416.1349246929833</c:v>
                </c:pt>
                <c:pt idx="639">
                  <c:v>413.05254229413697</c:v>
                </c:pt>
                <c:pt idx="640">
                  <c:v>411.86780291682044</c:v>
                </c:pt>
                <c:pt idx="641">
                  <c:v>411.01051255515995</c:v>
                </c:pt>
                <c:pt idx="642">
                  <c:v>414.77434505897213</c:v>
                </c:pt>
                <c:pt idx="643">
                  <c:v>410.38384234277072</c:v>
                </c:pt>
                <c:pt idx="644">
                  <c:v>405.50313280839339</c:v>
                </c:pt>
                <c:pt idx="645">
                  <c:v>400.89011480738452</c:v>
                </c:pt>
                <c:pt idx="646">
                  <c:v>398.78247110331881</c:v>
                </c:pt>
                <c:pt idx="647">
                  <c:v>398.10581132281828</c:v>
                </c:pt>
                <c:pt idx="648">
                  <c:v>403.64929890070852</c:v>
                </c:pt>
                <c:pt idx="649">
                  <c:v>404.07053200007584</c:v>
                </c:pt>
                <c:pt idx="650">
                  <c:v>401.16971132078334</c:v>
                </c:pt>
                <c:pt idx="651">
                  <c:v>401.95241889393304</c:v>
                </c:pt>
                <c:pt idx="652">
                  <c:v>402.3764539579588</c:v>
                </c:pt>
                <c:pt idx="653">
                  <c:v>400.41876530101825</c:v>
                </c:pt>
                <c:pt idx="654">
                  <c:v>402.47245209360307</c:v>
                </c:pt>
                <c:pt idx="655">
                  <c:v>407.27204990223208</c:v>
                </c:pt>
                <c:pt idx="656">
                  <c:v>408.79534294563041</c:v>
                </c:pt>
                <c:pt idx="657">
                  <c:v>411.51295372726992</c:v>
                </c:pt>
                <c:pt idx="658">
                  <c:v>408.95343040205989</c:v>
                </c:pt>
                <c:pt idx="659">
                  <c:v>409.84845675199244</c:v>
                </c:pt>
                <c:pt idx="660">
                  <c:v>409.55743397892815</c:v>
                </c:pt>
                <c:pt idx="661">
                  <c:v>416.83625401520095</c:v>
                </c:pt>
                <c:pt idx="662">
                  <c:v>414.59165053510839</c:v>
                </c:pt>
                <c:pt idx="663">
                  <c:v>411.84882920548193</c:v>
                </c:pt>
                <c:pt idx="664">
                  <c:v>409.63722415104672</c:v>
                </c:pt>
                <c:pt idx="665">
                  <c:v>408.52128108656285</c:v>
                </c:pt>
                <c:pt idx="666">
                  <c:v>407.03406162317629</c:v>
                </c:pt>
                <c:pt idx="667">
                  <c:v>402.68032880437028</c:v>
                </c:pt>
                <c:pt idx="668">
                  <c:v>396.67915763984416</c:v>
                </c:pt>
                <c:pt idx="669">
                  <c:v>392.67386289563751</c:v>
                </c:pt>
                <c:pt idx="670">
                  <c:v>399.78774139948302</c:v>
                </c:pt>
                <c:pt idx="671">
                  <c:v>401.35084154276223</c:v>
                </c:pt>
                <c:pt idx="672">
                  <c:v>407.50581143568883</c:v>
                </c:pt>
                <c:pt idx="673">
                  <c:v>405.10668348962838</c:v>
                </c:pt>
                <c:pt idx="674">
                  <c:v>406.55329662159949</c:v>
                </c:pt>
                <c:pt idx="675">
                  <c:v>404.68457432825079</c:v>
                </c:pt>
                <c:pt idx="676">
                  <c:v>404.64336570672072</c:v>
                </c:pt>
                <c:pt idx="677">
                  <c:v>407.46882011028293</c:v>
                </c:pt>
                <c:pt idx="678">
                  <c:v>404.83247770322964</c:v>
                </c:pt>
                <c:pt idx="679">
                  <c:v>405.5037901443855</c:v>
                </c:pt>
                <c:pt idx="680">
                  <c:v>397.97628114765831</c:v>
                </c:pt>
                <c:pt idx="681">
                  <c:v>386.60664501882974</c:v>
                </c:pt>
                <c:pt idx="682">
                  <c:v>371.39206511512594</c:v>
                </c:pt>
                <c:pt idx="683">
                  <c:v>370.27769413278168</c:v>
                </c:pt>
                <c:pt idx="684">
                  <c:v>376.5914326668468</c:v>
                </c:pt>
                <c:pt idx="685">
                  <c:v>380.1464165768129</c:v>
                </c:pt>
                <c:pt idx="686">
                  <c:v>390.3136387977799</c:v>
                </c:pt>
                <c:pt idx="687">
                  <c:v>391.45544877877671</c:v>
                </c:pt>
                <c:pt idx="688">
                  <c:v>388.89897045684216</c:v>
                </c:pt>
                <c:pt idx="689">
                  <c:v>392.02891052952714</c:v>
                </c:pt>
                <c:pt idx="690">
                  <c:v>392.74205299326565</c:v>
                </c:pt>
                <c:pt idx="691">
                  <c:v>393.36291333492323</c:v>
                </c:pt>
                <c:pt idx="692">
                  <c:v>396.29912535555911</c:v>
                </c:pt>
                <c:pt idx="693">
                  <c:v>406.69874617279532</c:v>
                </c:pt>
                <c:pt idx="694">
                  <c:v>405.27909445533948</c:v>
                </c:pt>
                <c:pt idx="695">
                  <c:v>406.74253672150093</c:v>
                </c:pt>
                <c:pt idx="696">
                  <c:v>408.8102016470354</c:v>
                </c:pt>
                <c:pt idx="697">
                  <c:v>411.5278587309374</c:v>
                </c:pt>
                <c:pt idx="698">
                  <c:v>412.14019086324589</c:v>
                </c:pt>
                <c:pt idx="699">
                  <c:v>409.66074087713127</c:v>
                </c:pt>
                <c:pt idx="700">
                  <c:v>410.7711517345416</c:v>
                </c:pt>
                <c:pt idx="701">
                  <c:v>412.19936178113107</c:v>
                </c:pt>
                <c:pt idx="702">
                  <c:v>405.90653805546219</c:v>
                </c:pt>
                <c:pt idx="703">
                  <c:v>409.92893687625133</c:v>
                </c:pt>
                <c:pt idx="704">
                  <c:v>412.03699325396633</c:v>
                </c:pt>
                <c:pt idx="705">
                  <c:v>416.50720696822481</c:v>
                </c:pt>
                <c:pt idx="706">
                  <c:v>414.10076659716782</c:v>
                </c:pt>
                <c:pt idx="707">
                  <c:v>415.2032524384062</c:v>
                </c:pt>
                <c:pt idx="708">
                  <c:v>421.57578582236442</c:v>
                </c:pt>
                <c:pt idx="709">
                  <c:v>419.85887508555777</c:v>
                </c:pt>
                <c:pt idx="710">
                  <c:v>419.85887508555777</c:v>
                </c:pt>
                <c:pt idx="711">
                  <c:v>419.85887508555777</c:v>
                </c:pt>
                <c:pt idx="712">
                  <c:v>422.5466419902894</c:v>
                </c:pt>
                <c:pt idx="713">
                  <c:v>425.6574919786238</c:v>
                </c:pt>
                <c:pt idx="714">
                  <c:v>429.84285523175475</c:v>
                </c:pt>
                <c:pt idx="715">
                  <c:v>430.340066294027</c:v>
                </c:pt>
                <c:pt idx="716">
                  <c:v>431.028715557932</c:v>
                </c:pt>
                <c:pt idx="717">
                  <c:v>433.06745430900833</c:v>
                </c:pt>
                <c:pt idx="718">
                  <c:v>432.35609825457061</c:v>
                </c:pt>
                <c:pt idx="719">
                  <c:v>431.1796001752582</c:v>
                </c:pt>
                <c:pt idx="720">
                  <c:v>429.9320989034041</c:v>
                </c:pt>
                <c:pt idx="721">
                  <c:v>428.29536049017037</c:v>
                </c:pt>
                <c:pt idx="722">
                  <c:v>436.30455973312502</c:v>
                </c:pt>
                <c:pt idx="723">
                  <c:v>438.51039531567017</c:v>
                </c:pt>
                <c:pt idx="724">
                  <c:v>433.86185640381404</c:v>
                </c:pt>
                <c:pt idx="725">
                  <c:v>432.20895081007944</c:v>
                </c:pt>
                <c:pt idx="726">
                  <c:v>426.50047342097633</c:v>
                </c:pt>
                <c:pt idx="727">
                  <c:v>421.87201961849638</c:v>
                </c:pt>
                <c:pt idx="728">
                  <c:v>425.79260893377409</c:v>
                </c:pt>
                <c:pt idx="729">
                  <c:v>422.96170319267333</c:v>
                </c:pt>
                <c:pt idx="730">
                  <c:v>421.45208527515348</c:v>
                </c:pt>
                <c:pt idx="731">
                  <c:v>411.01215642895284</c:v>
                </c:pt>
                <c:pt idx="732">
                  <c:v>410.79803416415859</c:v>
                </c:pt>
                <c:pt idx="733">
                  <c:v>410.06232038666917</c:v>
                </c:pt>
                <c:pt idx="734">
                  <c:v>413.0758568162928</c:v>
                </c:pt>
                <c:pt idx="735">
                  <c:v>415.55675003181329</c:v>
                </c:pt>
                <c:pt idx="736">
                  <c:v>422.92194214065734</c:v>
                </c:pt>
                <c:pt idx="737">
                  <c:v>426.78828792861015</c:v>
                </c:pt>
                <c:pt idx="738">
                  <c:v>430.71406865466827</c:v>
                </c:pt>
                <c:pt idx="739">
                  <c:v>427.37021536309692</c:v>
                </c:pt>
                <c:pt idx="740">
                  <c:v>423.9543128835586</c:v>
                </c:pt>
                <c:pt idx="741">
                  <c:v>422.93622224757087</c:v>
                </c:pt>
                <c:pt idx="742">
                  <c:v>420.98756926113123</c:v>
                </c:pt>
                <c:pt idx="743">
                  <c:v>415.76005435409127</c:v>
                </c:pt>
                <c:pt idx="744">
                  <c:v>417.80796845208931</c:v>
                </c:pt>
                <c:pt idx="745">
                  <c:v>413.62464299189384</c:v>
                </c:pt>
                <c:pt idx="746">
                  <c:v>410.59921830813249</c:v>
                </c:pt>
                <c:pt idx="747">
                  <c:v>414.08423799442221</c:v>
                </c:pt>
                <c:pt idx="748">
                  <c:v>410.98037671144311</c:v>
                </c:pt>
                <c:pt idx="749">
                  <c:v>410.69373083730704</c:v>
                </c:pt>
                <c:pt idx="750">
                  <c:v>409.26995697281842</c:v>
                </c:pt>
                <c:pt idx="751">
                  <c:v>406.35212917290215</c:v>
                </c:pt>
                <c:pt idx="752">
                  <c:v>408.40131269872541</c:v>
                </c:pt>
                <c:pt idx="753">
                  <c:v>404.47873998463234</c:v>
                </c:pt>
                <c:pt idx="754">
                  <c:v>402.89930517912876</c:v>
                </c:pt>
                <c:pt idx="755">
                  <c:v>404.20440862811506</c:v>
                </c:pt>
                <c:pt idx="756">
                  <c:v>398.74324872315873</c:v>
                </c:pt>
                <c:pt idx="757">
                  <c:v>402.16526816309374</c:v>
                </c:pt>
                <c:pt idx="758">
                  <c:v>403.93697338504586</c:v>
                </c:pt>
                <c:pt idx="759">
                  <c:v>408.2211341189261</c:v>
                </c:pt>
                <c:pt idx="760">
                  <c:v>412.44767431524389</c:v>
                </c:pt>
                <c:pt idx="761">
                  <c:v>417.67865408397955</c:v>
                </c:pt>
                <c:pt idx="762">
                  <c:v>418.52653099018437</c:v>
                </c:pt>
                <c:pt idx="763">
                  <c:v>424.10076617100879</c:v>
                </c:pt>
                <c:pt idx="764">
                  <c:v>430.446577410663</c:v>
                </c:pt>
                <c:pt idx="765">
                  <c:v>432.53941032606156</c:v>
                </c:pt>
                <c:pt idx="766">
                  <c:v>426.04825402380277</c:v>
                </c:pt>
                <c:pt idx="767">
                  <c:v>419.50684079052229</c:v>
                </c:pt>
                <c:pt idx="768">
                  <c:v>422.44507037163817</c:v>
                </c:pt>
                <c:pt idx="769">
                  <c:v>423.33829982561832</c:v>
                </c:pt>
                <c:pt idx="770">
                  <c:v>423.01292900235461</c:v>
                </c:pt>
                <c:pt idx="771">
                  <c:v>420.31932130494511</c:v>
                </c:pt>
                <c:pt idx="772">
                  <c:v>423.53226844099686</c:v>
                </c:pt>
                <c:pt idx="773">
                  <c:v>419.35574740974323</c:v>
                </c:pt>
                <c:pt idx="774">
                  <c:v>419.22125349685882</c:v>
                </c:pt>
                <c:pt idx="775">
                  <c:v>417.91311071157702</c:v>
                </c:pt>
                <c:pt idx="776">
                  <c:v>425.37224190008783</c:v>
                </c:pt>
                <c:pt idx="777">
                  <c:v>424.56835297147558</c:v>
                </c:pt>
                <c:pt idx="778">
                  <c:v>422.86080312590411</c:v>
                </c:pt>
                <c:pt idx="779">
                  <c:v>415.38412961642916</c:v>
                </c:pt>
                <c:pt idx="780">
                  <c:v>414.47373829397151</c:v>
                </c:pt>
                <c:pt idx="781">
                  <c:v>415.31377934205386</c:v>
                </c:pt>
                <c:pt idx="782">
                  <c:v>406.34654388956437</c:v>
                </c:pt>
                <c:pt idx="783">
                  <c:v>396.42134795152651</c:v>
                </c:pt>
                <c:pt idx="784">
                  <c:v>371.56227182100452</c:v>
                </c:pt>
                <c:pt idx="785">
                  <c:v>369.69277359689391</c:v>
                </c:pt>
                <c:pt idx="786">
                  <c:v>353.64929579138681</c:v>
                </c:pt>
                <c:pt idx="787">
                  <c:v>356.33301373289578</c:v>
                </c:pt>
                <c:pt idx="788">
                  <c:v>359.39859287946052</c:v>
                </c:pt>
                <c:pt idx="789">
                  <c:v>361.15944018849331</c:v>
                </c:pt>
                <c:pt idx="790">
                  <c:v>372.21356563379402</c:v>
                </c:pt>
                <c:pt idx="791">
                  <c:v>369.49442204198357</c:v>
                </c:pt>
                <c:pt idx="792">
                  <c:v>364.74627755338383</c:v>
                </c:pt>
                <c:pt idx="793">
                  <c:v>363.56788869494511</c:v>
                </c:pt>
                <c:pt idx="794">
                  <c:v>350.45074670654265</c:v>
                </c:pt>
                <c:pt idx="795">
                  <c:v>341.95068294582876</c:v>
                </c:pt>
                <c:pt idx="796">
                  <c:v>335.30164552847884</c:v>
                </c:pt>
                <c:pt idx="797">
                  <c:v>337.85978451988871</c:v>
                </c:pt>
                <c:pt idx="798">
                  <c:v>344.11929874576458</c:v>
                </c:pt>
                <c:pt idx="799">
                  <c:v>344.81457773224793</c:v>
                </c:pt>
                <c:pt idx="800">
                  <c:v>341.70390424048691</c:v>
                </c:pt>
                <c:pt idx="801">
                  <c:v>350.25533399070042</c:v>
                </c:pt>
                <c:pt idx="802">
                  <c:v>347.79414701201472</c:v>
                </c:pt>
                <c:pt idx="803">
                  <c:v>354.04475115404443</c:v>
                </c:pt>
                <c:pt idx="804">
                  <c:v>354.94609047055337</c:v>
                </c:pt>
                <c:pt idx="805">
                  <c:v>348.29649332761664</c:v>
                </c:pt>
                <c:pt idx="806">
                  <c:v>334.92256710712377</c:v>
                </c:pt>
                <c:pt idx="807">
                  <c:v>326.36804848981166</c:v>
                </c:pt>
                <c:pt idx="808">
                  <c:v>333.12313486089607</c:v>
                </c:pt>
                <c:pt idx="809">
                  <c:v>337.59647792573816</c:v>
                </c:pt>
                <c:pt idx="810">
                  <c:v>325.34195770530306</c:v>
                </c:pt>
                <c:pt idx="811">
                  <c:v>318.81658623060616</c:v>
                </c:pt>
                <c:pt idx="812">
                  <c:v>319.39822140306848</c:v>
                </c:pt>
                <c:pt idx="813">
                  <c:v>325.35196861673853</c:v>
                </c:pt>
                <c:pt idx="814">
                  <c:v>330.89812917373359</c:v>
                </c:pt>
                <c:pt idx="815">
                  <c:v>337.22164509544217</c:v>
                </c:pt>
                <c:pt idx="816">
                  <c:v>333.17081379098562</c:v>
                </c:pt>
                <c:pt idx="817">
                  <c:v>336.82168704894616</c:v>
                </c:pt>
                <c:pt idx="818">
                  <c:v>333.96793956757278</c:v>
                </c:pt>
                <c:pt idx="819">
                  <c:v>322.56460086084564</c:v>
                </c:pt>
                <c:pt idx="820">
                  <c:v>319.54409438434482</c:v>
                </c:pt>
                <c:pt idx="821">
                  <c:v>318.21140541311922</c:v>
                </c:pt>
                <c:pt idx="822">
                  <c:v>333.20727012354848</c:v>
                </c:pt>
                <c:pt idx="823">
                  <c:v>337.33064116618533</c:v>
                </c:pt>
                <c:pt idx="824">
                  <c:v>341.19412324986723</c:v>
                </c:pt>
                <c:pt idx="825">
                  <c:v>337.17917413588304</c:v>
                </c:pt>
                <c:pt idx="826">
                  <c:v>330.91973607405754</c:v>
                </c:pt>
                <c:pt idx="827">
                  <c:v>321.94237769525114</c:v>
                </c:pt>
                <c:pt idx="828">
                  <c:v>324.55536952313759</c:v>
                </c:pt>
                <c:pt idx="829">
                  <c:v>331.02509699656468</c:v>
                </c:pt>
                <c:pt idx="830">
                  <c:v>330.82709048097672</c:v>
                </c:pt>
                <c:pt idx="831">
                  <c:v>330.36218223351278</c:v>
                </c:pt>
                <c:pt idx="832">
                  <c:v>331.10892954184834</c:v>
                </c:pt>
                <c:pt idx="833">
                  <c:v>336.35565912177481</c:v>
                </c:pt>
                <c:pt idx="834">
                  <c:v>336.70622329609108</c:v>
                </c:pt>
                <c:pt idx="835">
                  <c:v>342.68340280754524</c:v>
                </c:pt>
                <c:pt idx="836">
                  <c:v>341.0146411180263</c:v>
                </c:pt>
                <c:pt idx="837">
                  <c:v>343.67570275358139</c:v>
                </c:pt>
                <c:pt idx="838">
                  <c:v>344.02719608159862</c:v>
                </c:pt>
                <c:pt idx="839">
                  <c:v>337.557610845113</c:v>
                </c:pt>
                <c:pt idx="840">
                  <c:v>344.73178899944935</c:v>
                </c:pt>
                <c:pt idx="841">
                  <c:v>347.48916760546308</c:v>
                </c:pt>
                <c:pt idx="842">
                  <c:v>342.19795970832052</c:v>
                </c:pt>
                <c:pt idx="843">
                  <c:v>343.73637296807726</c:v>
                </c:pt>
                <c:pt idx="844">
                  <c:v>351.00770703300128</c:v>
                </c:pt>
                <c:pt idx="845">
                  <c:v>349.17120262699524</c:v>
                </c:pt>
                <c:pt idx="846">
                  <c:v>346.86255763558427</c:v>
                </c:pt>
                <c:pt idx="847">
                  <c:v>341.27126120327256</c:v>
                </c:pt>
                <c:pt idx="848">
                  <c:v>338.06561812372587</c:v>
                </c:pt>
                <c:pt idx="849">
                  <c:v>344.91505024493671</c:v>
                </c:pt>
                <c:pt idx="850">
                  <c:v>345.35920797978838</c:v>
                </c:pt>
                <c:pt idx="851">
                  <c:v>343.61756465666821</c:v>
                </c:pt>
                <c:pt idx="852">
                  <c:v>347.37485504480634</c:v>
                </c:pt>
                <c:pt idx="853">
                  <c:v>342.07342662355836</c:v>
                </c:pt>
                <c:pt idx="854">
                  <c:v>333.37129473429621</c:v>
                </c:pt>
                <c:pt idx="855">
                  <c:v>338.92308182272694</c:v>
                </c:pt>
                <c:pt idx="856">
                  <c:v>340.239748648584</c:v>
                </c:pt>
                <c:pt idx="857">
                  <c:v>336.99685019740696</c:v>
                </c:pt>
                <c:pt idx="858">
                  <c:v>334.46746074432281</c:v>
                </c:pt>
                <c:pt idx="859">
                  <c:v>328.7102723684593</c:v>
                </c:pt>
                <c:pt idx="860">
                  <c:v>326.96753761867393</c:v>
                </c:pt>
                <c:pt idx="861">
                  <c:v>321.40701354822369</c:v>
                </c:pt>
                <c:pt idx="862">
                  <c:v>317.85119661647565</c:v>
                </c:pt>
                <c:pt idx="863">
                  <c:v>313.26221084576815</c:v>
                </c:pt>
                <c:pt idx="864">
                  <c:v>312.08351988653999</c:v>
                </c:pt>
                <c:pt idx="865">
                  <c:v>314.43323908238017</c:v>
                </c:pt>
                <c:pt idx="866">
                  <c:v>323.23833422946944</c:v>
                </c:pt>
                <c:pt idx="867">
                  <c:v>325.69274480207741</c:v>
                </c:pt>
                <c:pt idx="868">
                  <c:v>339.66582622764929</c:v>
                </c:pt>
                <c:pt idx="869">
                  <c:v>338.28531007681119</c:v>
                </c:pt>
                <c:pt idx="870">
                  <c:v>338.69007787646456</c:v>
                </c:pt>
                <c:pt idx="871">
                  <c:v>341.96185853144766</c:v>
                </c:pt>
                <c:pt idx="872">
                  <c:v>336.35113149147293</c:v>
                </c:pt>
                <c:pt idx="873">
                  <c:v>335.02169895547394</c:v>
                </c:pt>
                <c:pt idx="874">
                  <c:v>332.469742611193</c:v>
                </c:pt>
                <c:pt idx="875">
                  <c:v>328.82651212792666</c:v>
                </c:pt>
                <c:pt idx="876">
                  <c:v>327.99033550574893</c:v>
                </c:pt>
                <c:pt idx="877">
                  <c:v>325.07267206154415</c:v>
                </c:pt>
                <c:pt idx="878">
                  <c:v>320.99813883881433</c:v>
                </c:pt>
                <c:pt idx="879">
                  <c:v>321.90590800558346</c:v>
                </c:pt>
                <c:pt idx="880">
                  <c:v>323.19076421128403</c:v>
                </c:pt>
                <c:pt idx="881">
                  <c:v>324.11882872236356</c:v>
                </c:pt>
                <c:pt idx="882">
                  <c:v>325.76084087061122</c:v>
                </c:pt>
                <c:pt idx="883">
                  <c:v>326.2672661141288</c:v>
                </c:pt>
                <c:pt idx="884">
                  <c:v>327.17580711224997</c:v>
                </c:pt>
                <c:pt idx="885">
                  <c:v>327.42147736704817</c:v>
                </c:pt>
                <c:pt idx="886">
                  <c:v>327.42147736704817</c:v>
                </c:pt>
                <c:pt idx="887">
                  <c:v>328.13235865254427</c:v>
                </c:pt>
                <c:pt idx="888">
                  <c:v>325.30801376398335</c:v>
                </c:pt>
                <c:pt idx="889">
                  <c:v>332.97535647472688</c:v>
                </c:pt>
                <c:pt idx="890">
                  <c:v>330.52206822915628</c:v>
                </c:pt>
                <c:pt idx="891">
                  <c:v>335.04142428609191</c:v>
                </c:pt>
                <c:pt idx="892">
                  <c:v>340.27529525004314</c:v>
                </c:pt>
                <c:pt idx="893">
                  <c:v>342.11421663742703</c:v>
                </c:pt>
                <c:pt idx="894">
                  <c:v>342.09747108261763</c:v>
                </c:pt>
                <c:pt idx="895">
                  <c:v>342.19831697535147</c:v>
                </c:pt>
                <c:pt idx="896">
                  <c:v>340.48349364155581</c:v>
                </c:pt>
                <c:pt idx="897">
                  <c:v>345.84258106629034</c:v>
                </c:pt>
                <c:pt idx="898">
                  <c:v>346.59648830506933</c:v>
                </c:pt>
                <c:pt idx="899">
                  <c:v>347.44397757174534</c:v>
                </c:pt>
                <c:pt idx="900">
                  <c:v>350.11588283278849</c:v>
                </c:pt>
                <c:pt idx="901">
                  <c:v>354.23452405580076</c:v>
                </c:pt>
                <c:pt idx="902">
                  <c:v>353.56699823584313</c:v>
                </c:pt>
                <c:pt idx="903">
                  <c:v>353.64414609995083</c:v>
                </c:pt>
                <c:pt idx="904">
                  <c:v>356.92500070982805</c:v>
                </c:pt>
                <c:pt idx="905">
                  <c:v>356.5975533037203</c:v>
                </c:pt>
                <c:pt idx="906">
                  <c:v>361.60514693040943</c:v>
                </c:pt>
                <c:pt idx="907">
                  <c:v>359.28202245761594</c:v>
                </c:pt>
                <c:pt idx="908">
                  <c:v>365.25110625282656</c:v>
                </c:pt>
                <c:pt idx="909">
                  <c:v>368.8627749553753</c:v>
                </c:pt>
                <c:pt idx="910">
                  <c:v>366.22917941801978</c:v>
                </c:pt>
                <c:pt idx="911">
                  <c:v>367.45859234925894</c:v>
                </c:pt>
                <c:pt idx="912">
                  <c:v>369.74036328564563</c:v>
                </c:pt>
                <c:pt idx="913">
                  <c:v>376.69708620300889</c:v>
                </c:pt>
                <c:pt idx="914">
                  <c:v>375.47117043779446</c:v>
                </c:pt>
                <c:pt idx="915">
                  <c:v>389.20292749255344</c:v>
                </c:pt>
                <c:pt idx="916">
                  <c:v>389.36463982256078</c:v>
                </c:pt>
                <c:pt idx="917">
                  <c:v>387.02226635824695</c:v>
                </c:pt>
                <c:pt idx="918">
                  <c:v>393.24503505174442</c:v>
                </c:pt>
                <c:pt idx="919">
                  <c:v>393.90046272668405</c:v>
                </c:pt>
                <c:pt idx="920">
                  <c:v>389.30789442074547</c:v>
                </c:pt>
                <c:pt idx="921">
                  <c:v>396.23035869317391</c:v>
                </c:pt>
                <c:pt idx="922">
                  <c:v>391.91439400590929</c:v>
                </c:pt>
                <c:pt idx="923">
                  <c:v>395.40910900964502</c:v>
                </c:pt>
                <c:pt idx="924">
                  <c:v>391.04262880790725</c:v>
                </c:pt>
                <c:pt idx="925">
                  <c:v>395.07700501805328</c:v>
                </c:pt>
                <c:pt idx="926">
                  <c:v>395.62342450352196</c:v>
                </c:pt>
                <c:pt idx="927">
                  <c:v>393.88935037412631</c:v>
                </c:pt>
                <c:pt idx="928">
                  <c:v>389.76456606934079</c:v>
                </c:pt>
                <c:pt idx="929">
                  <c:v>382.64813873517983</c:v>
                </c:pt>
                <c:pt idx="930">
                  <c:v>386.24707243758871</c:v>
                </c:pt>
                <c:pt idx="931">
                  <c:v>384.47379848879865</c:v>
                </c:pt>
                <c:pt idx="932">
                  <c:v>383.72192583491227</c:v>
                </c:pt>
                <c:pt idx="933">
                  <c:v>385.62765929305874</c:v>
                </c:pt>
                <c:pt idx="934">
                  <c:v>387.14237272751899</c:v>
                </c:pt>
                <c:pt idx="935">
                  <c:v>391.65547431453331</c:v>
                </c:pt>
                <c:pt idx="936">
                  <c:v>390.64620238502215</c:v>
                </c:pt>
                <c:pt idx="937">
                  <c:v>378.9532480635018</c:v>
                </c:pt>
                <c:pt idx="938">
                  <c:v>380.51352734020566</c:v>
                </c:pt>
                <c:pt idx="939">
                  <c:v>386.92391885878612</c:v>
                </c:pt>
                <c:pt idx="940">
                  <c:v>391.75903842885805</c:v>
                </c:pt>
                <c:pt idx="941">
                  <c:v>391.93608915859613</c:v>
                </c:pt>
                <c:pt idx="942">
                  <c:v>397.42964631345438</c:v>
                </c:pt>
                <c:pt idx="943">
                  <c:v>400.50373365166229</c:v>
                </c:pt>
                <c:pt idx="944">
                  <c:v>404.50150383584338</c:v>
                </c:pt>
                <c:pt idx="945">
                  <c:v>401.77258392716499</c:v>
                </c:pt>
                <c:pt idx="946">
                  <c:v>401.78423229570325</c:v>
                </c:pt>
                <c:pt idx="947">
                  <c:v>392.53611777659239</c:v>
                </c:pt>
                <c:pt idx="948">
                  <c:v>394.14863608396956</c:v>
                </c:pt>
                <c:pt idx="949">
                  <c:v>389.54727618857146</c:v>
                </c:pt>
                <c:pt idx="950">
                  <c:v>390.68758990977238</c:v>
                </c:pt>
                <c:pt idx="951">
                  <c:v>399.02417468375529</c:v>
                </c:pt>
                <c:pt idx="952">
                  <c:v>400.13465802817643</c:v>
                </c:pt>
                <c:pt idx="953">
                  <c:v>395.3692263279176</c:v>
                </c:pt>
                <c:pt idx="954">
                  <c:v>392.68926804439695</c:v>
                </c:pt>
                <c:pt idx="955">
                  <c:v>395.44294281559922</c:v>
                </c:pt>
                <c:pt idx="956">
                  <c:v>402.80430975525451</c:v>
                </c:pt>
                <c:pt idx="957">
                  <c:v>401.32851459435483</c:v>
                </c:pt>
                <c:pt idx="958">
                  <c:v>396.35228059684584</c:v>
                </c:pt>
                <c:pt idx="959">
                  <c:v>394.67535682557155</c:v>
                </c:pt>
                <c:pt idx="960">
                  <c:v>394.67535682557155</c:v>
                </c:pt>
                <c:pt idx="961">
                  <c:v>394.67535682557155</c:v>
                </c:pt>
                <c:pt idx="962">
                  <c:v>389.82292582060614</c:v>
                </c:pt>
                <c:pt idx="963">
                  <c:v>390.46922571950222</c:v>
                </c:pt>
                <c:pt idx="964">
                  <c:v>400.18765661286534</c:v>
                </c:pt>
                <c:pt idx="965">
                  <c:v>395.9608350806551</c:v>
                </c:pt>
                <c:pt idx="966">
                  <c:v>398.66964291172707</c:v>
                </c:pt>
                <c:pt idx="967">
                  <c:v>404.19144199693858</c:v>
                </c:pt>
                <c:pt idx="968">
                  <c:v>402.75708339042529</c:v>
                </c:pt>
                <c:pt idx="969">
                  <c:v>400.26679094519301</c:v>
                </c:pt>
                <c:pt idx="970">
                  <c:v>397.44015955470252</c:v>
                </c:pt>
                <c:pt idx="971">
                  <c:v>393.87121798885983</c:v>
                </c:pt>
                <c:pt idx="972">
                  <c:v>390.34054065243265</c:v>
                </c:pt>
                <c:pt idx="973">
                  <c:v>397.17445042770851</c:v>
                </c:pt>
                <c:pt idx="974">
                  <c:v>408.96300678595753</c:v>
                </c:pt>
                <c:pt idx="975">
                  <c:v>411.44246041046478</c:v>
                </c:pt>
                <c:pt idx="976">
                  <c:v>415.34459243105221</c:v>
                </c:pt>
                <c:pt idx="977">
                  <c:v>415.34459243105221</c:v>
                </c:pt>
                <c:pt idx="978">
                  <c:v>416.31115489895535</c:v>
                </c:pt>
                <c:pt idx="979">
                  <c:v>416.98783429240609</c:v>
                </c:pt>
                <c:pt idx="980">
                  <c:v>412.199586526411</c:v>
                </c:pt>
                <c:pt idx="981">
                  <c:v>411.51168252053344</c:v>
                </c:pt>
                <c:pt idx="982">
                  <c:v>410.45672380219304</c:v>
                </c:pt>
                <c:pt idx="983">
                  <c:v>404.19524698116061</c:v>
                </c:pt>
                <c:pt idx="984">
                  <c:v>404.61670085912027</c:v>
                </c:pt>
                <c:pt idx="985">
                  <c:v>401.88399730635922</c:v>
                </c:pt>
                <c:pt idx="986">
                  <c:v>398.89748158384424</c:v>
                </c:pt>
                <c:pt idx="987">
                  <c:v>400.7645411059022</c:v>
                </c:pt>
                <c:pt idx="988">
                  <c:v>397.72540795914455</c:v>
                </c:pt>
                <c:pt idx="989">
                  <c:v>392.78359538965128</c:v>
                </c:pt>
                <c:pt idx="990">
                  <c:v>383.48292384311691</c:v>
                </c:pt>
                <c:pt idx="991">
                  <c:v>385.79205966335729</c:v>
                </c:pt>
                <c:pt idx="992">
                  <c:v>391.7429010977898</c:v>
                </c:pt>
                <c:pt idx="993">
                  <c:v>390.91769958286443</c:v>
                </c:pt>
                <c:pt idx="994">
                  <c:v>393.61802449749365</c:v>
                </c:pt>
                <c:pt idx="995">
                  <c:v>393.29209004130314</c:v>
                </c:pt>
                <c:pt idx="996">
                  <c:v>394.62198527870373</c:v>
                </c:pt>
                <c:pt idx="997">
                  <c:v>403.00059742935957</c:v>
                </c:pt>
                <c:pt idx="998">
                  <c:v>400.1079521015065</c:v>
                </c:pt>
                <c:pt idx="999">
                  <c:v>403.83895715499824</c:v>
                </c:pt>
                <c:pt idx="1000">
                  <c:v>393.92793370025504</c:v>
                </c:pt>
                <c:pt idx="1001">
                  <c:v>380.45963345572801</c:v>
                </c:pt>
                <c:pt idx="1002">
                  <c:v>379.78881578933004</c:v>
                </c:pt>
                <c:pt idx="1003">
                  <c:v>393.57752713360202</c:v>
                </c:pt>
                <c:pt idx="1004">
                  <c:v>395.59439653867543</c:v>
                </c:pt>
                <c:pt idx="1005">
                  <c:v>396.19172483223696</c:v>
                </c:pt>
                <c:pt idx="1006">
                  <c:v>396.50141781090855</c:v>
                </c:pt>
                <c:pt idx="1007">
                  <c:v>390.98900325933221</c:v>
                </c:pt>
                <c:pt idx="1008">
                  <c:v>388.86188981681948</c:v>
                </c:pt>
                <c:pt idx="1009">
                  <c:v>389.66402463760119</c:v>
                </c:pt>
                <c:pt idx="1010">
                  <c:v>395.26225425882444</c:v>
                </c:pt>
                <c:pt idx="1011">
                  <c:v>395.6178257687597</c:v>
                </c:pt>
                <c:pt idx="1012">
                  <c:v>392.86203833456591</c:v>
                </c:pt>
                <c:pt idx="1013">
                  <c:v>391.27847086725177</c:v>
                </c:pt>
                <c:pt idx="1014">
                  <c:v>394.61787038606604</c:v>
                </c:pt>
                <c:pt idx="1015">
                  <c:v>387.18865904481652</c:v>
                </c:pt>
                <c:pt idx="1016">
                  <c:v>382.11094817624547</c:v>
                </c:pt>
                <c:pt idx="1017">
                  <c:v>377.79837275494441</c:v>
                </c:pt>
                <c:pt idx="1018">
                  <c:v>378.81422867679476</c:v>
                </c:pt>
                <c:pt idx="1019">
                  <c:v>377.96185415536348</c:v>
                </c:pt>
                <c:pt idx="1020">
                  <c:v>389.06912511259412</c:v>
                </c:pt>
                <c:pt idx="1021">
                  <c:v>396.08909907718987</c:v>
                </c:pt>
                <c:pt idx="1022">
                  <c:v>396.5365407234724</c:v>
                </c:pt>
                <c:pt idx="1023">
                  <c:v>397.44791172426051</c:v>
                </c:pt>
                <c:pt idx="1024">
                  <c:v>398.39811058356725</c:v>
                </c:pt>
                <c:pt idx="1025">
                  <c:v>394.59219490276104</c:v>
                </c:pt>
                <c:pt idx="1026">
                  <c:v>392.90055200053405</c:v>
                </c:pt>
                <c:pt idx="1027">
                  <c:v>394.53435631049547</c:v>
                </c:pt>
                <c:pt idx="1028">
                  <c:v>395.77177857154504</c:v>
                </c:pt>
                <c:pt idx="1029">
                  <c:v>393.95905299212671</c:v>
                </c:pt>
                <c:pt idx="1030">
                  <c:v>398.51845779215961</c:v>
                </c:pt>
                <c:pt idx="1031">
                  <c:v>399.15413597024735</c:v>
                </c:pt>
                <c:pt idx="1032">
                  <c:v>401.52090074768057</c:v>
                </c:pt>
                <c:pt idx="1033">
                  <c:v>404.51172993323274</c:v>
                </c:pt>
                <c:pt idx="1034">
                  <c:v>403.59606707348041</c:v>
                </c:pt>
                <c:pt idx="1035">
                  <c:v>399.08274441870634</c:v>
                </c:pt>
                <c:pt idx="1036">
                  <c:v>394.99187800370845</c:v>
                </c:pt>
                <c:pt idx="1037">
                  <c:v>394.83251458659504</c:v>
                </c:pt>
                <c:pt idx="1038">
                  <c:v>396.29361378218499</c:v>
                </c:pt>
                <c:pt idx="1039">
                  <c:v>397.31933004591059</c:v>
                </c:pt>
                <c:pt idx="1040">
                  <c:v>401.93945464495522</c:v>
                </c:pt>
                <c:pt idx="1041">
                  <c:v>404.23921650036857</c:v>
                </c:pt>
                <c:pt idx="1042">
                  <c:v>404.09505714640687</c:v>
                </c:pt>
                <c:pt idx="1043">
                  <c:v>408.22078428870441</c:v>
                </c:pt>
                <c:pt idx="1044">
                  <c:v>402.03171951313811</c:v>
                </c:pt>
                <c:pt idx="1045">
                  <c:v>409.86137100883667</c:v>
                </c:pt>
                <c:pt idx="1046">
                  <c:v>410.06283133188731</c:v>
                </c:pt>
                <c:pt idx="1047">
                  <c:v>413.96951994419283</c:v>
                </c:pt>
                <c:pt idx="1048">
                  <c:v>414.65432701393939</c:v>
                </c:pt>
                <c:pt idx="1049">
                  <c:v>414.49139077327641</c:v>
                </c:pt>
                <c:pt idx="1050">
                  <c:v>415.79185449017615</c:v>
                </c:pt>
                <c:pt idx="1051">
                  <c:v>417.26436241876473</c:v>
                </c:pt>
                <c:pt idx="1052">
                  <c:v>417.37404852703992</c:v>
                </c:pt>
                <c:pt idx="1053">
                  <c:v>415.41653358801204</c:v>
                </c:pt>
                <c:pt idx="1054">
                  <c:v>415.381566255309</c:v>
                </c:pt>
                <c:pt idx="1055">
                  <c:v>421.86938130371556</c:v>
                </c:pt>
                <c:pt idx="1056">
                  <c:v>417.40599419067189</c:v>
                </c:pt>
                <c:pt idx="1057">
                  <c:v>417.30746192542927</c:v>
                </c:pt>
                <c:pt idx="1058">
                  <c:v>414.98386863478959</c:v>
                </c:pt>
                <c:pt idx="1059">
                  <c:v>414.30797836830124</c:v>
                </c:pt>
                <c:pt idx="1060">
                  <c:v>410.75079118786692</c:v>
                </c:pt>
                <c:pt idx="1061">
                  <c:v>412.46212077121567</c:v>
                </c:pt>
                <c:pt idx="1062">
                  <c:v>410.03036040542895</c:v>
                </c:pt>
                <c:pt idx="1063">
                  <c:v>412.62003137033008</c:v>
                </c:pt>
                <c:pt idx="1064">
                  <c:v>406.67624525402232</c:v>
                </c:pt>
                <c:pt idx="1065">
                  <c:v>406.71464583669592</c:v>
                </c:pt>
                <c:pt idx="1066">
                  <c:v>407.22800709139977</c:v>
                </c:pt>
                <c:pt idx="1067">
                  <c:v>398.28729036419054</c:v>
                </c:pt>
                <c:pt idx="1068">
                  <c:v>399.11617132124468</c:v>
                </c:pt>
                <c:pt idx="1069">
                  <c:v>408.42881356580523</c:v>
                </c:pt>
                <c:pt idx="1070">
                  <c:v>412.91073921095642</c:v>
                </c:pt>
                <c:pt idx="1071">
                  <c:v>411.95569931930731</c:v>
                </c:pt>
                <c:pt idx="1072">
                  <c:v>410.58276296928165</c:v>
                </c:pt>
                <c:pt idx="1073">
                  <c:v>411.08696598131661</c:v>
                </c:pt>
                <c:pt idx="1074">
                  <c:v>413.52562259323867</c:v>
                </c:pt>
                <c:pt idx="1075">
                  <c:v>415.50682676503322</c:v>
                </c:pt>
                <c:pt idx="1076">
                  <c:v>414.60923361360449</c:v>
                </c:pt>
                <c:pt idx="1077">
                  <c:v>415.8988077668057</c:v>
                </c:pt>
                <c:pt idx="1078">
                  <c:v>413.27486328470695</c:v>
                </c:pt>
                <c:pt idx="1079">
                  <c:v>415.81448636393992</c:v>
                </c:pt>
                <c:pt idx="1080">
                  <c:v>417.36274264633334</c:v>
                </c:pt>
                <c:pt idx="1081">
                  <c:v>418.33644255656702</c:v>
                </c:pt>
                <c:pt idx="1082">
                  <c:v>422.4937964617734</c:v>
                </c:pt>
                <c:pt idx="1083">
                  <c:v>415.45184797100512</c:v>
                </c:pt>
                <c:pt idx="1084">
                  <c:v>416.66058201390319</c:v>
                </c:pt>
                <c:pt idx="1085">
                  <c:v>419.35991842864547</c:v>
                </c:pt>
                <c:pt idx="1086">
                  <c:v>424.08625789192718</c:v>
                </c:pt>
                <c:pt idx="1087">
                  <c:v>426.87294093549241</c:v>
                </c:pt>
                <c:pt idx="1088">
                  <c:v>421.97027674006233</c:v>
                </c:pt>
                <c:pt idx="1089">
                  <c:v>428.03839856410752</c:v>
                </c:pt>
                <c:pt idx="1090">
                  <c:v>425.85949720937475</c:v>
                </c:pt>
                <c:pt idx="1091">
                  <c:v>426.33235544065565</c:v>
                </c:pt>
                <c:pt idx="1092">
                  <c:v>425.46536620353868</c:v>
                </c:pt>
                <c:pt idx="1093">
                  <c:v>420.94256280314585</c:v>
                </c:pt>
                <c:pt idx="1094">
                  <c:v>422.08273438380598</c:v>
                </c:pt>
                <c:pt idx="1095">
                  <c:v>416.9384749601861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918656"/>
        <c:axId val="126920192"/>
      </c:lineChart>
      <c:dateAx>
        <c:axId val="126918656"/>
        <c:scaling>
          <c:orientation val="minMax"/>
        </c:scaling>
        <c:delete val="0"/>
        <c:axPos val="b"/>
        <c:numFmt formatCode="dd\/mm\/yyyy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26920192"/>
        <c:crosses val="autoZero"/>
        <c:auto val="1"/>
        <c:lblOffset val="100"/>
        <c:baseTimeUnit val="days"/>
      </c:dateAx>
      <c:valAx>
        <c:axId val="126920192"/>
        <c:scaling>
          <c:orientation val="minMax"/>
          <c:max val="500"/>
        </c:scaling>
        <c:delete val="0"/>
        <c:axPos val="l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12691865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33828147027473093"/>
          <c:y val="0.91644912806951773"/>
          <c:w val="0.31544395924308594"/>
          <c:h val="6.2663219729112818E-2"/>
        </c:manualLayout>
      </c:layout>
      <c:overlay val="0"/>
      <c:txPr>
        <a:bodyPr/>
        <a:lstStyle/>
        <a:p>
          <a:pPr>
            <a:defRPr sz="920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emf"/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48.emf"/><Relationship Id="rId1" Type="http://schemas.openxmlformats.org/officeDocument/2006/relationships/image" Target="../media/image4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7187" cy="495301"/>
          </a:xfrm>
          <a:prstGeom prst="rect">
            <a:avLst/>
          </a:prstGeom>
        </p:spPr>
        <p:txBody>
          <a:bodyPr vert="horz" lIns="91266" tIns="45633" rIns="91266" bIns="4563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4010" y="0"/>
            <a:ext cx="2887187" cy="495301"/>
          </a:xfrm>
          <a:prstGeom prst="rect">
            <a:avLst/>
          </a:prstGeom>
        </p:spPr>
        <p:txBody>
          <a:bodyPr vert="horz" lIns="91266" tIns="45633" rIns="91266" bIns="45633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/>
              <a:pPr/>
              <a:t>28-Nov-1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2"/>
            <a:ext cx="2887187" cy="495301"/>
          </a:xfrm>
          <a:prstGeom prst="rect">
            <a:avLst/>
          </a:prstGeom>
        </p:spPr>
        <p:txBody>
          <a:bodyPr vert="horz" lIns="91266" tIns="45633" rIns="91266" bIns="4563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4010" y="9408982"/>
            <a:ext cx="2887187" cy="495301"/>
          </a:xfrm>
          <a:prstGeom prst="rect">
            <a:avLst/>
          </a:prstGeom>
        </p:spPr>
        <p:txBody>
          <a:bodyPr vert="horz" lIns="91266" tIns="45633" rIns="91266" bIns="45633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7187" cy="495301"/>
          </a:xfrm>
          <a:prstGeom prst="rect">
            <a:avLst/>
          </a:prstGeom>
        </p:spPr>
        <p:txBody>
          <a:bodyPr vert="horz" lIns="91266" tIns="45633" rIns="91266" bIns="4563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4010" y="0"/>
            <a:ext cx="2887187" cy="495301"/>
          </a:xfrm>
          <a:prstGeom prst="rect">
            <a:avLst/>
          </a:prstGeom>
        </p:spPr>
        <p:txBody>
          <a:bodyPr vert="horz" lIns="91266" tIns="45633" rIns="91266" bIns="45633" rtlCol="0"/>
          <a:lstStyle>
            <a:lvl1pPr algn="r">
              <a:defRPr sz="1200"/>
            </a:lvl1pPr>
          </a:lstStyle>
          <a:p>
            <a:fld id="{732C4D34-2C19-43C3-91CC-9F2B4AC12977}" type="datetimeFigureOut">
              <a:rPr lang="en-US" smtClean="0"/>
              <a:pPr/>
              <a:t>28-Nov-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55663" y="742950"/>
            <a:ext cx="4951412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66" tIns="45633" rIns="91266" bIns="4563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274" y="4705351"/>
            <a:ext cx="5330190" cy="4457700"/>
          </a:xfrm>
          <a:prstGeom prst="rect">
            <a:avLst/>
          </a:prstGeom>
        </p:spPr>
        <p:txBody>
          <a:bodyPr vert="horz" lIns="91266" tIns="45633" rIns="91266" bIns="45633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2"/>
            <a:ext cx="2887187" cy="495301"/>
          </a:xfrm>
          <a:prstGeom prst="rect">
            <a:avLst/>
          </a:prstGeom>
        </p:spPr>
        <p:txBody>
          <a:bodyPr vert="horz" lIns="91266" tIns="45633" rIns="91266" bIns="4563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4010" y="9408982"/>
            <a:ext cx="2887187" cy="495301"/>
          </a:xfrm>
          <a:prstGeom prst="rect">
            <a:avLst/>
          </a:prstGeom>
        </p:spPr>
        <p:txBody>
          <a:bodyPr vert="horz" lIns="91266" tIns="45633" rIns="91266" bIns="45633" rtlCol="0" anchor="b"/>
          <a:lstStyle>
            <a:lvl1pPr algn="r">
              <a:defRPr sz="1200"/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>
              <a:sym typeface="Wingdings" pitchFamily="2" charset="2"/>
            </a:endParaRPr>
          </a:p>
        </p:txBody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26485" indent="-279417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17669" indent="-22353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64737" indent="-22353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11805" indent="-22353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58873" indent="-22353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05940" indent="-22353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53008" indent="-22353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00076" indent="-22353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fld id="{BC2D6421-B007-4685-BFFE-03B36723CB99}" type="slidenum">
              <a:rPr lang="en-US" smtClean="0">
                <a:solidFill>
                  <a:prstClr val="black"/>
                </a:solidFill>
                <a:latin typeface="Calibri" pitchFamily="34" charset="0"/>
              </a:rPr>
              <a:pPr>
                <a:defRPr/>
              </a:pPr>
              <a:t>1</a:t>
            </a:fld>
            <a:endParaRPr lang="en-US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57250" y="742950"/>
            <a:ext cx="4948238" cy="37131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65962" y="4704086"/>
            <a:ext cx="5330814" cy="4458334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57250" y="742950"/>
            <a:ext cx="4948238" cy="37131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65962" y="4704086"/>
            <a:ext cx="5330814" cy="4458334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65188" y="749300"/>
            <a:ext cx="4938712" cy="3705225"/>
          </a:xfrm>
          <a:ln/>
        </p:spPr>
      </p:sp>
      <p:sp>
        <p:nvSpPr>
          <p:cNvPr id="4403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7791" y="4704044"/>
            <a:ext cx="4887163" cy="4458356"/>
          </a:xfrm>
          <a:noFill/>
          <a:ln/>
        </p:spPr>
        <p:txBody>
          <a:bodyPr lIns="98920" tIns="49462" rIns="98920" bIns="49462"/>
          <a:lstStyle/>
          <a:p>
            <a:pPr eaLnBrk="1" hangingPunct="1"/>
            <a:endParaRPr lang="de-DE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57250" y="742950"/>
            <a:ext cx="4948238" cy="37131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65962" y="4704086"/>
            <a:ext cx="5330814" cy="4458334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57250" y="742950"/>
            <a:ext cx="4948238" cy="37131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65962" y="4704086"/>
            <a:ext cx="5330814" cy="4458334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53859"/>
            <a:fld id="{9F99871C-9680-415F-A987-8FCD74A0AB16}" type="slidenum">
              <a:rPr lang="en-US" smtClean="0"/>
              <a:pPr defTabSz="953859"/>
              <a:t>22</a:t>
            </a:fld>
            <a:endParaRPr lang="en-US" dirty="0" smtClean="0"/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680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 txBox="1">
            <a:spLocks noGrp="1" noChangeArrowheads="1"/>
          </p:cNvSpPr>
          <p:nvPr/>
        </p:nvSpPr>
        <p:spPr bwMode="auto">
          <a:xfrm>
            <a:off x="3778250" y="9410700"/>
            <a:ext cx="2884488" cy="495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295" tIns="45147" rIns="90295" bIns="45147" anchor="b"/>
          <a:lstStyle/>
          <a:p>
            <a:pPr algn="r" defTabSz="903156"/>
            <a:fld id="{E82001DB-125E-410B-8833-6D53D6D7A197}" type="slidenum">
              <a:rPr lang="de-DE" altLang="de-DE" sz="1200">
                <a:solidFill>
                  <a:srgbClr val="000000"/>
                </a:solidFill>
                <a:latin typeface="Times" pitchFamily="18" charset="0"/>
              </a:rPr>
              <a:pPr algn="r" defTabSz="903156"/>
              <a:t>23</a:t>
            </a:fld>
            <a:endParaRPr lang="de-DE" altLang="de-DE" sz="1200" dirty="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419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57250" y="742950"/>
            <a:ext cx="4951413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66750" y="4702177"/>
            <a:ext cx="5329239" cy="4460876"/>
          </a:xfrm>
          <a:noFill/>
        </p:spPr>
        <p:txBody>
          <a:bodyPr wrap="square" lIns="90295" tIns="45147" rIns="90295" bIns="45147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buClr>
                <a:srgbClr val="EEECE1"/>
              </a:buClr>
            </a:pPr>
            <a:fld id="{6FBFC23C-93D6-416D-B374-CAC2713DCD0A}" type="slidenum">
              <a:rPr lang="en-US" sz="1100">
                <a:solidFill>
                  <a:srgbClr val="000000"/>
                </a:solidFill>
              </a:rPr>
              <a:pPr>
                <a:buClr>
                  <a:srgbClr val="EEECE1"/>
                </a:buClr>
              </a:pPr>
              <a:t>24</a:t>
            </a:fld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52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20763" y="863600"/>
            <a:ext cx="4629150" cy="34734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258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86824" y="4705351"/>
            <a:ext cx="4889093" cy="4459420"/>
          </a:xfrm>
          <a:noFill/>
        </p:spPr>
        <p:txBody>
          <a:bodyPr wrap="square" lIns="90346" tIns="45172" rIns="90346" bIns="45172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58838" y="744538"/>
            <a:ext cx="4945062" cy="37099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89000" y="4703766"/>
            <a:ext cx="4884738" cy="445770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lvl="1" eaLnBrk="1" hangingPunct="1">
              <a:spcBef>
                <a:spcPct val="0"/>
              </a:spcBef>
              <a:buFontTx/>
              <a:buChar char="•"/>
            </a:pPr>
            <a:endParaRPr lang="en-GB" sz="9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</a:pPr>
            <a:fld id="{EA7D356F-9F99-45B2-8228-7962322B84C5}" type="slidenum">
              <a:rPr lang="en-US" sz="11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pPr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EECE1"/>
                </a:buClr>
              </a:pPr>
              <a:t>4</a:t>
            </a:fld>
            <a:endParaRPr lang="en-US" sz="11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58838" y="742950"/>
            <a:ext cx="4948237" cy="37131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67817" y="4703633"/>
            <a:ext cx="5327106" cy="4459419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985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8424" indent="-284009" defTabSz="94985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6036" indent="-227207" defTabSz="94985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0451" indent="-227207" defTabSz="94985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44866" indent="-227207" defTabSz="94985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99281" indent="-227207" algn="ctr" defTabSz="94985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53695" indent="-227207" algn="ctr" defTabSz="94985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08110" indent="-227207" algn="ctr" defTabSz="94985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62525" indent="-227207" algn="ctr" defTabSz="94985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Clr>
                <a:srgbClr val="EEECE1"/>
              </a:buClr>
            </a:pPr>
            <a:fld id="{3A5E9D29-845D-4ED6-A400-BF264189D4F5}" type="slidenum">
              <a:rPr lang="en-US" sz="1100">
                <a:solidFill>
                  <a:srgbClr val="000000"/>
                </a:solidFill>
              </a:rPr>
              <a:pPr eaLnBrk="1" hangingPunct="1">
                <a:lnSpc>
                  <a:spcPct val="90000"/>
                </a:lnSpc>
                <a:spcBef>
                  <a:spcPct val="50000"/>
                </a:spcBef>
                <a:buClr>
                  <a:srgbClr val="EEECE1"/>
                </a:buClr>
              </a:pPr>
              <a:t>5</a:t>
            </a:fld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8156" y="4701853"/>
            <a:ext cx="5326426" cy="446183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de-DE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57250" y="742950"/>
            <a:ext cx="4948238" cy="37131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65962" y="4704086"/>
            <a:ext cx="5330814" cy="4458334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EAC7C92-9659-4DFD-9BAF-A7CF53A97552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2305050" y="1273175"/>
            <a:ext cx="11280775" cy="84613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12794" y="612247"/>
            <a:ext cx="5803676" cy="318162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57250" y="742950"/>
            <a:ext cx="4948238" cy="37131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65962" y="4704086"/>
            <a:ext cx="5330814" cy="4458334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50690"/>
            <a:fld id="{12FE6FE4-43AC-4196-B816-4682D7CEC12E}" type="slidenum">
              <a:rPr lang="en-US" smtClean="0"/>
              <a:pPr defTabSz="950690"/>
              <a:t>10</a:t>
            </a:fld>
            <a:endParaRPr lang="en-US" dirty="0" smtClean="0"/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</a:pPr>
            <a:fld id="{563AD5A4-751D-4E02-A190-C5C52B3D2893}" type="slidenum">
              <a:rPr lang="en-US" sz="1100">
                <a:solidFill>
                  <a:srgbClr val="000000"/>
                </a:solidFill>
              </a:rPr>
              <a:pPr fontAlgn="base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EECE1"/>
                </a:buClr>
              </a:pPr>
              <a:t>11</a:t>
            </a:fld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44800" y="6353323"/>
            <a:ext cx="3311525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Author(s)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244800" y="5073438"/>
            <a:ext cx="3967917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 smtClean="0"/>
              <a:t>Date her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44800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 smtClean="0"/>
              <a:t>Report type here</a:t>
            </a:r>
            <a:endParaRPr lang="en-US" dirty="0"/>
          </a:p>
        </p:txBody>
      </p:sp>
      <p:pic>
        <p:nvPicPr>
          <p:cNvPr id="8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rcRect t="3659"/>
          <a:stretch>
            <a:fillRect/>
          </a:stretch>
        </p:blipFill>
        <p:spPr>
          <a:xfrm>
            <a:off x="0" y="0"/>
            <a:ext cx="9144000" cy="722376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244800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>
          <a:xfrm>
            <a:off x="0" y="3547872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244800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ation subtitle or client nam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4800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Text on first level her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740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Divider subsections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Divider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6_Sig-for-last-page.jpg"/>
          <p:cNvPicPr>
            <a:picLocks noChangeAspect="1"/>
          </p:cNvPicPr>
          <p:nvPr userDrawn="1"/>
        </p:nvPicPr>
        <p:blipFill>
          <a:blip r:embed="rId3" cstate="print"/>
          <a:srcRect l="399"/>
          <a:stretch>
            <a:fillRect/>
          </a:stretch>
        </p:blipFill>
        <p:spPr>
          <a:xfrm>
            <a:off x="0" y="4631436"/>
            <a:ext cx="9107488" cy="2226564"/>
          </a:xfrm>
          <a:prstGeom prst="rect">
            <a:avLst/>
          </a:prstGeom>
        </p:spPr>
      </p:pic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0279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924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4507" y="804672"/>
            <a:ext cx="864108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4507" y="2057400"/>
            <a:ext cx="864108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Text on first level her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7122610" y="6610644"/>
            <a:ext cx="1526059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 dirty="0" smtClean="0">
                <a:solidFill>
                  <a:srgbClr val="77787B"/>
                </a:solidFill>
                <a:latin typeface="Arial"/>
              </a:rPr>
              <a:t>A.T. Kearney 10/10.2012/43843d</a:t>
            </a:r>
            <a:endParaRPr lang="en-US" sz="800" dirty="0">
              <a:solidFill>
                <a:srgbClr val="77787B"/>
              </a:solidFill>
              <a:latin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641893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0" y="320040"/>
            <a:ext cx="9144000" cy="270018"/>
          </a:xfrm>
          <a:prstGeom prst="rect">
            <a:avLst/>
          </a:prstGeom>
          <a:ln w="6350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  <p:sldLayoutId id="2147483664" r:id="rId6"/>
    <p:sldLayoutId id="2147483671" r:id="rId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1.v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image" Target="../media/image4.jpeg"/><Relationship Id="rId4" Type="http://schemas.openxmlformats.org/officeDocument/2006/relationships/tags" Target="../tags/tag11.xml"/><Relationship Id="rId9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18" Type="http://schemas.openxmlformats.org/officeDocument/2006/relationships/oleObject" Target="../embeddings/oleObject8.bin"/><Relationship Id="rId3" Type="http://schemas.openxmlformats.org/officeDocument/2006/relationships/tags" Target="../tags/tag130.xml"/><Relationship Id="rId21" Type="http://schemas.openxmlformats.org/officeDocument/2006/relationships/image" Target="../media/image27.emf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notesSlide" Target="../notesSlides/notesSlide8.xml"/><Relationship Id="rId2" Type="http://schemas.openxmlformats.org/officeDocument/2006/relationships/tags" Target="../tags/tag129.xml"/><Relationship Id="rId16" Type="http://schemas.openxmlformats.org/officeDocument/2006/relationships/slideLayout" Target="../slideLayouts/slideLayout4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7.v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5" Type="http://schemas.openxmlformats.org/officeDocument/2006/relationships/tags" Target="../tags/tag142.xml"/><Relationship Id="rId10" Type="http://schemas.openxmlformats.org/officeDocument/2006/relationships/tags" Target="../tags/tag137.xml"/><Relationship Id="rId19" Type="http://schemas.openxmlformats.org/officeDocument/2006/relationships/image" Target="../media/image28.png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tags" Target="../tags/tag141.xml"/><Relationship Id="rId22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tags" Target="../tags/tag154.xml"/><Relationship Id="rId18" Type="http://schemas.openxmlformats.org/officeDocument/2006/relationships/tags" Target="../tags/tag159.xml"/><Relationship Id="rId26" Type="http://schemas.openxmlformats.org/officeDocument/2006/relationships/image" Target="../media/image31.png"/><Relationship Id="rId3" Type="http://schemas.openxmlformats.org/officeDocument/2006/relationships/tags" Target="../tags/tag144.xml"/><Relationship Id="rId21" Type="http://schemas.openxmlformats.org/officeDocument/2006/relationships/tags" Target="../tags/tag162.xml"/><Relationship Id="rId7" Type="http://schemas.openxmlformats.org/officeDocument/2006/relationships/tags" Target="../tags/tag148.xml"/><Relationship Id="rId12" Type="http://schemas.openxmlformats.org/officeDocument/2006/relationships/tags" Target="../tags/tag153.xml"/><Relationship Id="rId17" Type="http://schemas.openxmlformats.org/officeDocument/2006/relationships/tags" Target="../tags/tag158.xml"/><Relationship Id="rId25" Type="http://schemas.openxmlformats.org/officeDocument/2006/relationships/image" Target="../media/image30.png"/><Relationship Id="rId2" Type="http://schemas.openxmlformats.org/officeDocument/2006/relationships/tags" Target="../tags/tag143.xml"/><Relationship Id="rId16" Type="http://schemas.openxmlformats.org/officeDocument/2006/relationships/tags" Target="../tags/tag157.xml"/><Relationship Id="rId20" Type="http://schemas.openxmlformats.org/officeDocument/2006/relationships/tags" Target="../tags/tag161.xml"/><Relationship Id="rId1" Type="http://schemas.openxmlformats.org/officeDocument/2006/relationships/vmlDrawing" Target="../drawings/vmlDrawing8.v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24" Type="http://schemas.openxmlformats.org/officeDocument/2006/relationships/oleObject" Target="../embeddings/oleObject10.bin"/><Relationship Id="rId5" Type="http://schemas.openxmlformats.org/officeDocument/2006/relationships/tags" Target="../tags/tag146.xml"/><Relationship Id="rId15" Type="http://schemas.openxmlformats.org/officeDocument/2006/relationships/tags" Target="../tags/tag156.xml"/><Relationship Id="rId23" Type="http://schemas.openxmlformats.org/officeDocument/2006/relationships/notesSlide" Target="../notesSlides/notesSlide9.xml"/><Relationship Id="rId28" Type="http://schemas.openxmlformats.org/officeDocument/2006/relationships/image" Target="../media/image29.emf"/><Relationship Id="rId10" Type="http://schemas.openxmlformats.org/officeDocument/2006/relationships/tags" Target="../tags/tag151.xml"/><Relationship Id="rId19" Type="http://schemas.openxmlformats.org/officeDocument/2006/relationships/tags" Target="../tags/tag160.xml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tags" Target="../tags/tag155.xml"/><Relationship Id="rId22" Type="http://schemas.openxmlformats.org/officeDocument/2006/relationships/slideLayout" Target="../slideLayouts/slideLayout4.xml"/><Relationship Id="rId27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3.xml"/><Relationship Id="rId4" Type="http://schemas.openxmlformats.org/officeDocument/2006/relationships/image" Target="../media/image32.gif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175.xml"/><Relationship Id="rId18" Type="http://schemas.openxmlformats.org/officeDocument/2006/relationships/tags" Target="../tags/tag180.xml"/><Relationship Id="rId26" Type="http://schemas.openxmlformats.org/officeDocument/2006/relationships/tags" Target="../tags/tag188.xml"/><Relationship Id="rId39" Type="http://schemas.openxmlformats.org/officeDocument/2006/relationships/tags" Target="../tags/tag201.xml"/><Relationship Id="rId21" Type="http://schemas.openxmlformats.org/officeDocument/2006/relationships/tags" Target="../tags/tag183.xml"/><Relationship Id="rId34" Type="http://schemas.openxmlformats.org/officeDocument/2006/relationships/tags" Target="../tags/tag196.xml"/><Relationship Id="rId42" Type="http://schemas.openxmlformats.org/officeDocument/2006/relationships/tags" Target="../tags/tag204.xml"/><Relationship Id="rId47" Type="http://schemas.openxmlformats.org/officeDocument/2006/relationships/tags" Target="../tags/tag209.xml"/><Relationship Id="rId50" Type="http://schemas.openxmlformats.org/officeDocument/2006/relationships/tags" Target="../tags/tag212.xml"/><Relationship Id="rId55" Type="http://schemas.openxmlformats.org/officeDocument/2006/relationships/image" Target="../media/image33.emf"/><Relationship Id="rId7" Type="http://schemas.openxmlformats.org/officeDocument/2006/relationships/tags" Target="../tags/tag169.xml"/><Relationship Id="rId12" Type="http://schemas.openxmlformats.org/officeDocument/2006/relationships/tags" Target="../tags/tag174.xml"/><Relationship Id="rId17" Type="http://schemas.openxmlformats.org/officeDocument/2006/relationships/tags" Target="../tags/tag179.xml"/><Relationship Id="rId25" Type="http://schemas.openxmlformats.org/officeDocument/2006/relationships/tags" Target="../tags/tag187.xml"/><Relationship Id="rId33" Type="http://schemas.openxmlformats.org/officeDocument/2006/relationships/tags" Target="../tags/tag195.xml"/><Relationship Id="rId38" Type="http://schemas.openxmlformats.org/officeDocument/2006/relationships/tags" Target="../tags/tag200.xml"/><Relationship Id="rId46" Type="http://schemas.openxmlformats.org/officeDocument/2006/relationships/tags" Target="../tags/tag208.xml"/><Relationship Id="rId2" Type="http://schemas.openxmlformats.org/officeDocument/2006/relationships/tags" Target="../tags/tag164.xml"/><Relationship Id="rId16" Type="http://schemas.openxmlformats.org/officeDocument/2006/relationships/tags" Target="../tags/tag178.xml"/><Relationship Id="rId20" Type="http://schemas.openxmlformats.org/officeDocument/2006/relationships/tags" Target="../tags/tag182.xml"/><Relationship Id="rId29" Type="http://schemas.openxmlformats.org/officeDocument/2006/relationships/tags" Target="../tags/tag191.xml"/><Relationship Id="rId41" Type="http://schemas.openxmlformats.org/officeDocument/2006/relationships/tags" Target="../tags/tag203.xml"/><Relationship Id="rId54" Type="http://schemas.openxmlformats.org/officeDocument/2006/relationships/oleObject" Target="../embeddings/oleObject13.bin"/><Relationship Id="rId1" Type="http://schemas.openxmlformats.org/officeDocument/2006/relationships/vmlDrawing" Target="../drawings/vmlDrawing9.vml"/><Relationship Id="rId6" Type="http://schemas.openxmlformats.org/officeDocument/2006/relationships/tags" Target="../tags/tag168.xml"/><Relationship Id="rId11" Type="http://schemas.openxmlformats.org/officeDocument/2006/relationships/tags" Target="../tags/tag173.xml"/><Relationship Id="rId24" Type="http://schemas.openxmlformats.org/officeDocument/2006/relationships/tags" Target="../tags/tag186.xml"/><Relationship Id="rId32" Type="http://schemas.openxmlformats.org/officeDocument/2006/relationships/tags" Target="../tags/tag194.xml"/><Relationship Id="rId37" Type="http://schemas.openxmlformats.org/officeDocument/2006/relationships/tags" Target="../tags/tag199.xml"/><Relationship Id="rId40" Type="http://schemas.openxmlformats.org/officeDocument/2006/relationships/tags" Target="../tags/tag202.xml"/><Relationship Id="rId45" Type="http://schemas.openxmlformats.org/officeDocument/2006/relationships/tags" Target="../tags/tag207.xml"/><Relationship Id="rId53" Type="http://schemas.openxmlformats.org/officeDocument/2006/relationships/oleObject" Target="../embeddings/oleObject12.bin"/><Relationship Id="rId5" Type="http://schemas.openxmlformats.org/officeDocument/2006/relationships/tags" Target="../tags/tag167.xml"/><Relationship Id="rId15" Type="http://schemas.openxmlformats.org/officeDocument/2006/relationships/tags" Target="../tags/tag177.xml"/><Relationship Id="rId23" Type="http://schemas.openxmlformats.org/officeDocument/2006/relationships/tags" Target="../tags/tag185.xml"/><Relationship Id="rId28" Type="http://schemas.openxmlformats.org/officeDocument/2006/relationships/tags" Target="../tags/tag190.xml"/><Relationship Id="rId36" Type="http://schemas.openxmlformats.org/officeDocument/2006/relationships/tags" Target="../tags/tag198.xml"/><Relationship Id="rId49" Type="http://schemas.openxmlformats.org/officeDocument/2006/relationships/tags" Target="../tags/tag211.xml"/><Relationship Id="rId10" Type="http://schemas.openxmlformats.org/officeDocument/2006/relationships/tags" Target="../tags/tag172.xml"/><Relationship Id="rId19" Type="http://schemas.openxmlformats.org/officeDocument/2006/relationships/tags" Target="../tags/tag181.xml"/><Relationship Id="rId31" Type="http://schemas.openxmlformats.org/officeDocument/2006/relationships/tags" Target="../tags/tag193.xml"/><Relationship Id="rId44" Type="http://schemas.openxmlformats.org/officeDocument/2006/relationships/tags" Target="../tags/tag206.xml"/><Relationship Id="rId52" Type="http://schemas.openxmlformats.org/officeDocument/2006/relationships/slideLayout" Target="../slideLayouts/slideLayout4.xml"/><Relationship Id="rId4" Type="http://schemas.openxmlformats.org/officeDocument/2006/relationships/tags" Target="../tags/tag166.xml"/><Relationship Id="rId9" Type="http://schemas.openxmlformats.org/officeDocument/2006/relationships/tags" Target="../tags/tag171.xml"/><Relationship Id="rId14" Type="http://schemas.openxmlformats.org/officeDocument/2006/relationships/tags" Target="../tags/tag176.xml"/><Relationship Id="rId22" Type="http://schemas.openxmlformats.org/officeDocument/2006/relationships/tags" Target="../tags/tag184.xml"/><Relationship Id="rId27" Type="http://schemas.openxmlformats.org/officeDocument/2006/relationships/tags" Target="../tags/tag189.xml"/><Relationship Id="rId30" Type="http://schemas.openxmlformats.org/officeDocument/2006/relationships/tags" Target="../tags/tag192.xml"/><Relationship Id="rId35" Type="http://schemas.openxmlformats.org/officeDocument/2006/relationships/tags" Target="../tags/tag197.xml"/><Relationship Id="rId43" Type="http://schemas.openxmlformats.org/officeDocument/2006/relationships/tags" Target="../tags/tag205.xml"/><Relationship Id="rId48" Type="http://schemas.openxmlformats.org/officeDocument/2006/relationships/tags" Target="../tags/tag210.xml"/><Relationship Id="rId56" Type="http://schemas.openxmlformats.org/officeDocument/2006/relationships/image" Target="../media/image20.jpeg"/><Relationship Id="rId8" Type="http://schemas.openxmlformats.org/officeDocument/2006/relationships/tags" Target="../tags/tag170.xml"/><Relationship Id="rId51" Type="http://schemas.openxmlformats.org/officeDocument/2006/relationships/tags" Target="../tags/tag213.xml"/><Relationship Id="rId3" Type="http://schemas.openxmlformats.org/officeDocument/2006/relationships/tags" Target="../tags/tag16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18" Type="http://schemas.openxmlformats.org/officeDocument/2006/relationships/image" Target="../media/image35.png"/><Relationship Id="rId3" Type="http://schemas.openxmlformats.org/officeDocument/2006/relationships/tags" Target="../tags/tag215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image" Target="../media/image34.emf"/><Relationship Id="rId2" Type="http://schemas.openxmlformats.org/officeDocument/2006/relationships/tags" Target="../tags/tag214.xml"/><Relationship Id="rId16" Type="http://schemas.openxmlformats.org/officeDocument/2006/relationships/oleObject" Target="../embeddings/oleObject14.bin"/><Relationship Id="rId20" Type="http://schemas.openxmlformats.org/officeDocument/2006/relationships/image" Target="../media/image37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5" Type="http://schemas.openxmlformats.org/officeDocument/2006/relationships/tags" Target="../tags/tag217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222.xml"/><Relationship Id="rId19" Type="http://schemas.openxmlformats.org/officeDocument/2006/relationships/image" Target="../media/image36.png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7.xml"/><Relationship Id="rId4" Type="http://schemas.openxmlformats.org/officeDocument/2006/relationships/image" Target="../media/image38.gi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13" Type="http://schemas.openxmlformats.org/officeDocument/2006/relationships/tags" Target="../tags/tag239.xml"/><Relationship Id="rId18" Type="http://schemas.openxmlformats.org/officeDocument/2006/relationships/tags" Target="../tags/tag244.xml"/><Relationship Id="rId3" Type="http://schemas.openxmlformats.org/officeDocument/2006/relationships/tags" Target="../tags/tag229.xml"/><Relationship Id="rId21" Type="http://schemas.openxmlformats.org/officeDocument/2006/relationships/oleObject" Target="../embeddings/oleObject15.bin"/><Relationship Id="rId7" Type="http://schemas.openxmlformats.org/officeDocument/2006/relationships/tags" Target="../tags/tag233.xml"/><Relationship Id="rId12" Type="http://schemas.openxmlformats.org/officeDocument/2006/relationships/tags" Target="../tags/tag238.xml"/><Relationship Id="rId17" Type="http://schemas.openxmlformats.org/officeDocument/2006/relationships/tags" Target="../tags/tag243.xml"/><Relationship Id="rId25" Type="http://schemas.openxmlformats.org/officeDocument/2006/relationships/image" Target="../media/image20.jpeg"/><Relationship Id="rId2" Type="http://schemas.openxmlformats.org/officeDocument/2006/relationships/tags" Target="../tags/tag228.xml"/><Relationship Id="rId16" Type="http://schemas.openxmlformats.org/officeDocument/2006/relationships/tags" Target="../tags/tag242.xml"/><Relationship Id="rId20" Type="http://schemas.openxmlformats.org/officeDocument/2006/relationships/notesSlide" Target="../notesSlides/notesSlide1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32.xml"/><Relationship Id="rId11" Type="http://schemas.openxmlformats.org/officeDocument/2006/relationships/tags" Target="../tags/tag237.xml"/><Relationship Id="rId24" Type="http://schemas.openxmlformats.org/officeDocument/2006/relationships/image" Target="../media/image39.emf"/><Relationship Id="rId5" Type="http://schemas.openxmlformats.org/officeDocument/2006/relationships/tags" Target="../tags/tag231.xml"/><Relationship Id="rId15" Type="http://schemas.openxmlformats.org/officeDocument/2006/relationships/tags" Target="../tags/tag241.xml"/><Relationship Id="rId23" Type="http://schemas.openxmlformats.org/officeDocument/2006/relationships/oleObject" Target="../embeddings/oleObject16.bin"/><Relationship Id="rId10" Type="http://schemas.openxmlformats.org/officeDocument/2006/relationships/tags" Target="../tags/tag236.xml"/><Relationship Id="rId19" Type="http://schemas.openxmlformats.org/officeDocument/2006/relationships/slideLayout" Target="../slideLayouts/slideLayout4.xml"/><Relationship Id="rId4" Type="http://schemas.openxmlformats.org/officeDocument/2006/relationships/tags" Target="../tags/tag230.xml"/><Relationship Id="rId9" Type="http://schemas.openxmlformats.org/officeDocument/2006/relationships/tags" Target="../tags/tag235.xml"/><Relationship Id="rId14" Type="http://schemas.openxmlformats.org/officeDocument/2006/relationships/tags" Target="../tags/tag240.xml"/><Relationship Id="rId22" Type="http://schemas.openxmlformats.org/officeDocument/2006/relationships/image" Target="../media/image11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13" Type="http://schemas.openxmlformats.org/officeDocument/2006/relationships/tags" Target="../tags/tag256.xml"/><Relationship Id="rId18" Type="http://schemas.openxmlformats.org/officeDocument/2006/relationships/tags" Target="../tags/tag261.xml"/><Relationship Id="rId26" Type="http://schemas.openxmlformats.org/officeDocument/2006/relationships/tags" Target="../tags/tag269.xml"/><Relationship Id="rId39" Type="http://schemas.openxmlformats.org/officeDocument/2006/relationships/tags" Target="../tags/tag282.xml"/><Relationship Id="rId3" Type="http://schemas.openxmlformats.org/officeDocument/2006/relationships/tags" Target="../tags/tag246.xml"/><Relationship Id="rId21" Type="http://schemas.openxmlformats.org/officeDocument/2006/relationships/tags" Target="../tags/tag264.xml"/><Relationship Id="rId34" Type="http://schemas.openxmlformats.org/officeDocument/2006/relationships/tags" Target="../tags/tag277.xml"/><Relationship Id="rId7" Type="http://schemas.openxmlformats.org/officeDocument/2006/relationships/tags" Target="../tags/tag250.xml"/><Relationship Id="rId12" Type="http://schemas.openxmlformats.org/officeDocument/2006/relationships/tags" Target="../tags/tag255.xml"/><Relationship Id="rId17" Type="http://schemas.openxmlformats.org/officeDocument/2006/relationships/tags" Target="../tags/tag260.xml"/><Relationship Id="rId25" Type="http://schemas.openxmlformats.org/officeDocument/2006/relationships/tags" Target="../tags/tag268.xml"/><Relationship Id="rId33" Type="http://schemas.openxmlformats.org/officeDocument/2006/relationships/tags" Target="../tags/tag276.xml"/><Relationship Id="rId38" Type="http://schemas.openxmlformats.org/officeDocument/2006/relationships/tags" Target="../tags/tag281.xml"/><Relationship Id="rId2" Type="http://schemas.openxmlformats.org/officeDocument/2006/relationships/tags" Target="../tags/tag245.xml"/><Relationship Id="rId16" Type="http://schemas.openxmlformats.org/officeDocument/2006/relationships/tags" Target="../tags/tag259.xml"/><Relationship Id="rId20" Type="http://schemas.openxmlformats.org/officeDocument/2006/relationships/tags" Target="../tags/tag263.xml"/><Relationship Id="rId29" Type="http://schemas.openxmlformats.org/officeDocument/2006/relationships/tags" Target="../tags/tag272.xml"/><Relationship Id="rId41" Type="http://schemas.openxmlformats.org/officeDocument/2006/relationships/oleObject" Target="../embeddings/oleObject17.bin"/><Relationship Id="rId1" Type="http://schemas.openxmlformats.org/officeDocument/2006/relationships/vmlDrawing" Target="../drawings/vmlDrawing12.vml"/><Relationship Id="rId6" Type="http://schemas.openxmlformats.org/officeDocument/2006/relationships/tags" Target="../tags/tag249.xml"/><Relationship Id="rId11" Type="http://schemas.openxmlformats.org/officeDocument/2006/relationships/tags" Target="../tags/tag254.xml"/><Relationship Id="rId24" Type="http://schemas.openxmlformats.org/officeDocument/2006/relationships/tags" Target="../tags/tag267.xml"/><Relationship Id="rId32" Type="http://schemas.openxmlformats.org/officeDocument/2006/relationships/tags" Target="../tags/tag275.xml"/><Relationship Id="rId37" Type="http://schemas.openxmlformats.org/officeDocument/2006/relationships/tags" Target="../tags/tag280.xml"/><Relationship Id="rId40" Type="http://schemas.openxmlformats.org/officeDocument/2006/relationships/slideLayout" Target="../slideLayouts/slideLayout4.xml"/><Relationship Id="rId5" Type="http://schemas.openxmlformats.org/officeDocument/2006/relationships/tags" Target="../tags/tag248.xml"/><Relationship Id="rId15" Type="http://schemas.openxmlformats.org/officeDocument/2006/relationships/tags" Target="../tags/tag258.xml"/><Relationship Id="rId23" Type="http://schemas.openxmlformats.org/officeDocument/2006/relationships/tags" Target="../tags/tag266.xml"/><Relationship Id="rId28" Type="http://schemas.openxmlformats.org/officeDocument/2006/relationships/tags" Target="../tags/tag271.xml"/><Relationship Id="rId36" Type="http://schemas.openxmlformats.org/officeDocument/2006/relationships/tags" Target="../tags/tag279.xml"/><Relationship Id="rId10" Type="http://schemas.openxmlformats.org/officeDocument/2006/relationships/tags" Target="../tags/tag253.xml"/><Relationship Id="rId19" Type="http://schemas.openxmlformats.org/officeDocument/2006/relationships/tags" Target="../tags/tag262.xml"/><Relationship Id="rId31" Type="http://schemas.openxmlformats.org/officeDocument/2006/relationships/tags" Target="../tags/tag274.xml"/><Relationship Id="rId4" Type="http://schemas.openxmlformats.org/officeDocument/2006/relationships/tags" Target="../tags/tag247.xml"/><Relationship Id="rId9" Type="http://schemas.openxmlformats.org/officeDocument/2006/relationships/tags" Target="../tags/tag252.xml"/><Relationship Id="rId14" Type="http://schemas.openxmlformats.org/officeDocument/2006/relationships/tags" Target="../tags/tag257.xml"/><Relationship Id="rId22" Type="http://schemas.openxmlformats.org/officeDocument/2006/relationships/tags" Target="../tags/tag265.xml"/><Relationship Id="rId27" Type="http://schemas.openxmlformats.org/officeDocument/2006/relationships/tags" Target="../tags/tag270.xml"/><Relationship Id="rId30" Type="http://schemas.openxmlformats.org/officeDocument/2006/relationships/tags" Target="../tags/tag273.xml"/><Relationship Id="rId35" Type="http://schemas.openxmlformats.org/officeDocument/2006/relationships/tags" Target="../tags/tag27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3.xml"/><Relationship Id="rId4" Type="http://schemas.openxmlformats.org/officeDocument/2006/relationships/image" Target="../media/image40.gi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90.xml"/><Relationship Id="rId13" Type="http://schemas.openxmlformats.org/officeDocument/2006/relationships/tags" Target="../tags/tag295.xml"/><Relationship Id="rId18" Type="http://schemas.openxmlformats.org/officeDocument/2006/relationships/tags" Target="../tags/tag300.xml"/><Relationship Id="rId3" Type="http://schemas.openxmlformats.org/officeDocument/2006/relationships/tags" Target="../tags/tag285.xml"/><Relationship Id="rId21" Type="http://schemas.openxmlformats.org/officeDocument/2006/relationships/slideLayout" Target="../slideLayouts/slideLayout4.xml"/><Relationship Id="rId7" Type="http://schemas.openxmlformats.org/officeDocument/2006/relationships/tags" Target="../tags/tag289.xml"/><Relationship Id="rId12" Type="http://schemas.openxmlformats.org/officeDocument/2006/relationships/tags" Target="../tags/tag294.xml"/><Relationship Id="rId17" Type="http://schemas.openxmlformats.org/officeDocument/2006/relationships/tags" Target="../tags/tag299.xml"/><Relationship Id="rId25" Type="http://schemas.openxmlformats.org/officeDocument/2006/relationships/image" Target="../media/image20.jpeg"/><Relationship Id="rId2" Type="http://schemas.openxmlformats.org/officeDocument/2006/relationships/tags" Target="../tags/tag284.xml"/><Relationship Id="rId16" Type="http://schemas.openxmlformats.org/officeDocument/2006/relationships/tags" Target="../tags/tag298.xml"/><Relationship Id="rId20" Type="http://schemas.openxmlformats.org/officeDocument/2006/relationships/tags" Target="../tags/tag30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88.xml"/><Relationship Id="rId11" Type="http://schemas.openxmlformats.org/officeDocument/2006/relationships/tags" Target="../tags/tag293.xml"/><Relationship Id="rId24" Type="http://schemas.openxmlformats.org/officeDocument/2006/relationships/image" Target="../media/image41.emf"/><Relationship Id="rId5" Type="http://schemas.openxmlformats.org/officeDocument/2006/relationships/tags" Target="../tags/tag287.xml"/><Relationship Id="rId15" Type="http://schemas.openxmlformats.org/officeDocument/2006/relationships/tags" Target="../tags/tag297.xml"/><Relationship Id="rId23" Type="http://schemas.openxmlformats.org/officeDocument/2006/relationships/oleObject" Target="../embeddings/oleObject19.bin"/><Relationship Id="rId10" Type="http://schemas.openxmlformats.org/officeDocument/2006/relationships/tags" Target="../tags/tag292.xml"/><Relationship Id="rId19" Type="http://schemas.openxmlformats.org/officeDocument/2006/relationships/tags" Target="../tags/tag301.xml"/><Relationship Id="rId4" Type="http://schemas.openxmlformats.org/officeDocument/2006/relationships/tags" Target="../tags/tag286.xml"/><Relationship Id="rId9" Type="http://schemas.openxmlformats.org/officeDocument/2006/relationships/tags" Target="../tags/tag291.xml"/><Relationship Id="rId14" Type="http://schemas.openxmlformats.org/officeDocument/2006/relationships/tags" Target="../tags/tag296.xml"/><Relationship Id="rId22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Layout" Target="../slideLayouts/slideLayout4.xml"/><Relationship Id="rId18" Type="http://schemas.openxmlformats.org/officeDocument/2006/relationships/image" Target="../media/image7.jpeg"/><Relationship Id="rId3" Type="http://schemas.openxmlformats.org/officeDocument/2006/relationships/tags" Target="../tags/tag15.xml"/><Relationship Id="rId21" Type="http://schemas.openxmlformats.org/officeDocument/2006/relationships/image" Target="../media/image10.png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6.png"/><Relationship Id="rId2" Type="http://schemas.openxmlformats.org/officeDocument/2006/relationships/tags" Target="../tags/tag14.xml"/><Relationship Id="rId16" Type="http://schemas.openxmlformats.org/officeDocument/2006/relationships/image" Target="../media/image5.jpeg"/><Relationship Id="rId20" Type="http://schemas.openxmlformats.org/officeDocument/2006/relationships/image" Target="../media/image9.png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22.xml"/><Relationship Id="rId19" Type="http://schemas.openxmlformats.org/officeDocument/2006/relationships/image" Target="../media/image8.png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6" Type="http://schemas.openxmlformats.org/officeDocument/2006/relationships/tags" Target="../tags/tag327.xml"/><Relationship Id="rId21" Type="http://schemas.openxmlformats.org/officeDocument/2006/relationships/tags" Target="../tags/tag322.xml"/><Relationship Id="rId42" Type="http://schemas.openxmlformats.org/officeDocument/2006/relationships/tags" Target="../tags/tag343.xml"/><Relationship Id="rId47" Type="http://schemas.openxmlformats.org/officeDocument/2006/relationships/tags" Target="../tags/tag348.xml"/><Relationship Id="rId63" Type="http://schemas.openxmlformats.org/officeDocument/2006/relationships/tags" Target="../tags/tag364.xml"/><Relationship Id="rId68" Type="http://schemas.openxmlformats.org/officeDocument/2006/relationships/tags" Target="../tags/tag369.xml"/><Relationship Id="rId84" Type="http://schemas.openxmlformats.org/officeDocument/2006/relationships/tags" Target="../tags/tag385.xml"/><Relationship Id="rId89" Type="http://schemas.openxmlformats.org/officeDocument/2006/relationships/tags" Target="../tags/tag390.xml"/><Relationship Id="rId112" Type="http://schemas.openxmlformats.org/officeDocument/2006/relationships/oleObject" Target="../embeddings/oleObject21.bin"/><Relationship Id="rId16" Type="http://schemas.openxmlformats.org/officeDocument/2006/relationships/tags" Target="../tags/tag317.xml"/><Relationship Id="rId107" Type="http://schemas.openxmlformats.org/officeDocument/2006/relationships/tags" Target="../tags/tag408.xml"/><Relationship Id="rId11" Type="http://schemas.openxmlformats.org/officeDocument/2006/relationships/tags" Target="../tags/tag312.xml"/><Relationship Id="rId24" Type="http://schemas.openxmlformats.org/officeDocument/2006/relationships/tags" Target="../tags/tag325.xml"/><Relationship Id="rId32" Type="http://schemas.openxmlformats.org/officeDocument/2006/relationships/tags" Target="../tags/tag333.xml"/><Relationship Id="rId37" Type="http://schemas.openxmlformats.org/officeDocument/2006/relationships/tags" Target="../tags/tag338.xml"/><Relationship Id="rId40" Type="http://schemas.openxmlformats.org/officeDocument/2006/relationships/tags" Target="../tags/tag341.xml"/><Relationship Id="rId45" Type="http://schemas.openxmlformats.org/officeDocument/2006/relationships/tags" Target="../tags/tag346.xml"/><Relationship Id="rId53" Type="http://schemas.openxmlformats.org/officeDocument/2006/relationships/tags" Target="../tags/tag354.xml"/><Relationship Id="rId58" Type="http://schemas.openxmlformats.org/officeDocument/2006/relationships/tags" Target="../tags/tag359.xml"/><Relationship Id="rId66" Type="http://schemas.openxmlformats.org/officeDocument/2006/relationships/tags" Target="../tags/tag367.xml"/><Relationship Id="rId74" Type="http://schemas.openxmlformats.org/officeDocument/2006/relationships/tags" Target="../tags/tag375.xml"/><Relationship Id="rId79" Type="http://schemas.openxmlformats.org/officeDocument/2006/relationships/tags" Target="../tags/tag380.xml"/><Relationship Id="rId87" Type="http://schemas.openxmlformats.org/officeDocument/2006/relationships/tags" Target="../tags/tag388.xml"/><Relationship Id="rId102" Type="http://schemas.openxmlformats.org/officeDocument/2006/relationships/tags" Target="../tags/tag403.xml"/><Relationship Id="rId110" Type="http://schemas.openxmlformats.org/officeDocument/2006/relationships/oleObject" Target="../embeddings/oleObject20.bin"/><Relationship Id="rId115" Type="http://schemas.openxmlformats.org/officeDocument/2006/relationships/image" Target="../media/image43.emf"/><Relationship Id="rId5" Type="http://schemas.openxmlformats.org/officeDocument/2006/relationships/tags" Target="../tags/tag306.xml"/><Relationship Id="rId61" Type="http://schemas.openxmlformats.org/officeDocument/2006/relationships/tags" Target="../tags/tag362.xml"/><Relationship Id="rId82" Type="http://schemas.openxmlformats.org/officeDocument/2006/relationships/tags" Target="../tags/tag383.xml"/><Relationship Id="rId90" Type="http://schemas.openxmlformats.org/officeDocument/2006/relationships/tags" Target="../tags/tag391.xml"/><Relationship Id="rId95" Type="http://schemas.openxmlformats.org/officeDocument/2006/relationships/tags" Target="../tags/tag396.xml"/><Relationship Id="rId19" Type="http://schemas.openxmlformats.org/officeDocument/2006/relationships/tags" Target="../tags/tag320.xml"/><Relationship Id="rId14" Type="http://schemas.openxmlformats.org/officeDocument/2006/relationships/tags" Target="../tags/tag315.xml"/><Relationship Id="rId22" Type="http://schemas.openxmlformats.org/officeDocument/2006/relationships/tags" Target="../tags/tag323.xml"/><Relationship Id="rId27" Type="http://schemas.openxmlformats.org/officeDocument/2006/relationships/tags" Target="../tags/tag328.xml"/><Relationship Id="rId30" Type="http://schemas.openxmlformats.org/officeDocument/2006/relationships/tags" Target="../tags/tag331.xml"/><Relationship Id="rId35" Type="http://schemas.openxmlformats.org/officeDocument/2006/relationships/tags" Target="../tags/tag336.xml"/><Relationship Id="rId43" Type="http://schemas.openxmlformats.org/officeDocument/2006/relationships/tags" Target="../tags/tag344.xml"/><Relationship Id="rId48" Type="http://schemas.openxmlformats.org/officeDocument/2006/relationships/tags" Target="../tags/tag349.xml"/><Relationship Id="rId56" Type="http://schemas.openxmlformats.org/officeDocument/2006/relationships/tags" Target="../tags/tag357.xml"/><Relationship Id="rId64" Type="http://schemas.openxmlformats.org/officeDocument/2006/relationships/tags" Target="../tags/tag365.xml"/><Relationship Id="rId69" Type="http://schemas.openxmlformats.org/officeDocument/2006/relationships/tags" Target="../tags/tag370.xml"/><Relationship Id="rId77" Type="http://schemas.openxmlformats.org/officeDocument/2006/relationships/tags" Target="../tags/tag378.xml"/><Relationship Id="rId100" Type="http://schemas.openxmlformats.org/officeDocument/2006/relationships/tags" Target="../tags/tag401.xml"/><Relationship Id="rId105" Type="http://schemas.openxmlformats.org/officeDocument/2006/relationships/tags" Target="../tags/tag406.xml"/><Relationship Id="rId113" Type="http://schemas.openxmlformats.org/officeDocument/2006/relationships/image" Target="../media/image42.emf"/><Relationship Id="rId8" Type="http://schemas.openxmlformats.org/officeDocument/2006/relationships/tags" Target="../tags/tag309.xml"/><Relationship Id="rId51" Type="http://schemas.openxmlformats.org/officeDocument/2006/relationships/tags" Target="../tags/tag352.xml"/><Relationship Id="rId72" Type="http://schemas.openxmlformats.org/officeDocument/2006/relationships/tags" Target="../tags/tag373.xml"/><Relationship Id="rId80" Type="http://schemas.openxmlformats.org/officeDocument/2006/relationships/tags" Target="../tags/tag381.xml"/><Relationship Id="rId85" Type="http://schemas.openxmlformats.org/officeDocument/2006/relationships/tags" Target="../tags/tag386.xml"/><Relationship Id="rId93" Type="http://schemas.openxmlformats.org/officeDocument/2006/relationships/tags" Target="../tags/tag394.xml"/><Relationship Id="rId98" Type="http://schemas.openxmlformats.org/officeDocument/2006/relationships/tags" Target="../tags/tag399.xml"/><Relationship Id="rId3" Type="http://schemas.openxmlformats.org/officeDocument/2006/relationships/tags" Target="../tags/tag304.xml"/><Relationship Id="rId12" Type="http://schemas.openxmlformats.org/officeDocument/2006/relationships/tags" Target="../tags/tag313.xml"/><Relationship Id="rId17" Type="http://schemas.openxmlformats.org/officeDocument/2006/relationships/tags" Target="../tags/tag318.xml"/><Relationship Id="rId25" Type="http://schemas.openxmlformats.org/officeDocument/2006/relationships/tags" Target="../tags/tag326.xml"/><Relationship Id="rId33" Type="http://schemas.openxmlformats.org/officeDocument/2006/relationships/tags" Target="../tags/tag334.xml"/><Relationship Id="rId38" Type="http://schemas.openxmlformats.org/officeDocument/2006/relationships/tags" Target="../tags/tag339.xml"/><Relationship Id="rId46" Type="http://schemas.openxmlformats.org/officeDocument/2006/relationships/tags" Target="../tags/tag347.xml"/><Relationship Id="rId59" Type="http://schemas.openxmlformats.org/officeDocument/2006/relationships/tags" Target="../tags/tag360.xml"/><Relationship Id="rId67" Type="http://schemas.openxmlformats.org/officeDocument/2006/relationships/tags" Target="../tags/tag368.xml"/><Relationship Id="rId103" Type="http://schemas.openxmlformats.org/officeDocument/2006/relationships/tags" Target="../tags/tag404.xml"/><Relationship Id="rId108" Type="http://schemas.openxmlformats.org/officeDocument/2006/relationships/tags" Target="../tags/tag409.xml"/><Relationship Id="rId116" Type="http://schemas.openxmlformats.org/officeDocument/2006/relationships/image" Target="../media/image44.png"/><Relationship Id="rId20" Type="http://schemas.openxmlformats.org/officeDocument/2006/relationships/tags" Target="../tags/tag321.xml"/><Relationship Id="rId41" Type="http://schemas.openxmlformats.org/officeDocument/2006/relationships/tags" Target="../tags/tag342.xml"/><Relationship Id="rId54" Type="http://schemas.openxmlformats.org/officeDocument/2006/relationships/tags" Target="../tags/tag355.xml"/><Relationship Id="rId62" Type="http://schemas.openxmlformats.org/officeDocument/2006/relationships/tags" Target="../tags/tag363.xml"/><Relationship Id="rId70" Type="http://schemas.openxmlformats.org/officeDocument/2006/relationships/tags" Target="../tags/tag371.xml"/><Relationship Id="rId75" Type="http://schemas.openxmlformats.org/officeDocument/2006/relationships/tags" Target="../tags/tag376.xml"/><Relationship Id="rId83" Type="http://schemas.openxmlformats.org/officeDocument/2006/relationships/tags" Target="../tags/tag384.xml"/><Relationship Id="rId88" Type="http://schemas.openxmlformats.org/officeDocument/2006/relationships/tags" Target="../tags/tag389.xml"/><Relationship Id="rId91" Type="http://schemas.openxmlformats.org/officeDocument/2006/relationships/tags" Target="../tags/tag392.xml"/><Relationship Id="rId96" Type="http://schemas.openxmlformats.org/officeDocument/2006/relationships/tags" Target="../tags/tag397.xml"/><Relationship Id="rId111" Type="http://schemas.openxmlformats.org/officeDocument/2006/relationships/image" Target="../media/image11.emf"/><Relationship Id="rId1" Type="http://schemas.openxmlformats.org/officeDocument/2006/relationships/vmlDrawing" Target="../drawings/vmlDrawing14.vml"/><Relationship Id="rId6" Type="http://schemas.openxmlformats.org/officeDocument/2006/relationships/tags" Target="../tags/tag307.xml"/><Relationship Id="rId15" Type="http://schemas.openxmlformats.org/officeDocument/2006/relationships/tags" Target="../tags/tag316.xml"/><Relationship Id="rId23" Type="http://schemas.openxmlformats.org/officeDocument/2006/relationships/tags" Target="../tags/tag324.xml"/><Relationship Id="rId28" Type="http://schemas.openxmlformats.org/officeDocument/2006/relationships/tags" Target="../tags/tag329.xml"/><Relationship Id="rId36" Type="http://schemas.openxmlformats.org/officeDocument/2006/relationships/tags" Target="../tags/tag337.xml"/><Relationship Id="rId49" Type="http://schemas.openxmlformats.org/officeDocument/2006/relationships/tags" Target="../tags/tag350.xml"/><Relationship Id="rId57" Type="http://schemas.openxmlformats.org/officeDocument/2006/relationships/tags" Target="../tags/tag358.xml"/><Relationship Id="rId106" Type="http://schemas.openxmlformats.org/officeDocument/2006/relationships/tags" Target="../tags/tag407.xml"/><Relationship Id="rId114" Type="http://schemas.openxmlformats.org/officeDocument/2006/relationships/oleObject" Target="../embeddings/oleObject22.bin"/><Relationship Id="rId10" Type="http://schemas.openxmlformats.org/officeDocument/2006/relationships/tags" Target="../tags/tag311.xml"/><Relationship Id="rId31" Type="http://schemas.openxmlformats.org/officeDocument/2006/relationships/tags" Target="../tags/tag332.xml"/><Relationship Id="rId44" Type="http://schemas.openxmlformats.org/officeDocument/2006/relationships/tags" Target="../tags/tag345.xml"/><Relationship Id="rId52" Type="http://schemas.openxmlformats.org/officeDocument/2006/relationships/tags" Target="../tags/tag353.xml"/><Relationship Id="rId60" Type="http://schemas.openxmlformats.org/officeDocument/2006/relationships/tags" Target="../tags/tag361.xml"/><Relationship Id="rId65" Type="http://schemas.openxmlformats.org/officeDocument/2006/relationships/tags" Target="../tags/tag366.xml"/><Relationship Id="rId73" Type="http://schemas.openxmlformats.org/officeDocument/2006/relationships/tags" Target="../tags/tag374.xml"/><Relationship Id="rId78" Type="http://schemas.openxmlformats.org/officeDocument/2006/relationships/tags" Target="../tags/tag379.xml"/><Relationship Id="rId81" Type="http://schemas.openxmlformats.org/officeDocument/2006/relationships/tags" Target="../tags/tag382.xml"/><Relationship Id="rId86" Type="http://schemas.openxmlformats.org/officeDocument/2006/relationships/tags" Target="../tags/tag387.xml"/><Relationship Id="rId94" Type="http://schemas.openxmlformats.org/officeDocument/2006/relationships/tags" Target="../tags/tag395.xml"/><Relationship Id="rId99" Type="http://schemas.openxmlformats.org/officeDocument/2006/relationships/tags" Target="../tags/tag400.xml"/><Relationship Id="rId101" Type="http://schemas.openxmlformats.org/officeDocument/2006/relationships/tags" Target="../tags/tag402.xml"/><Relationship Id="rId4" Type="http://schemas.openxmlformats.org/officeDocument/2006/relationships/tags" Target="../tags/tag305.xml"/><Relationship Id="rId9" Type="http://schemas.openxmlformats.org/officeDocument/2006/relationships/tags" Target="../tags/tag310.xml"/><Relationship Id="rId13" Type="http://schemas.openxmlformats.org/officeDocument/2006/relationships/tags" Target="../tags/tag314.xml"/><Relationship Id="rId18" Type="http://schemas.openxmlformats.org/officeDocument/2006/relationships/tags" Target="../tags/tag319.xml"/><Relationship Id="rId39" Type="http://schemas.openxmlformats.org/officeDocument/2006/relationships/tags" Target="../tags/tag340.xml"/><Relationship Id="rId109" Type="http://schemas.openxmlformats.org/officeDocument/2006/relationships/slideLayout" Target="../slideLayouts/slideLayout4.xml"/><Relationship Id="rId34" Type="http://schemas.openxmlformats.org/officeDocument/2006/relationships/tags" Target="../tags/tag335.xml"/><Relationship Id="rId50" Type="http://schemas.openxmlformats.org/officeDocument/2006/relationships/tags" Target="../tags/tag351.xml"/><Relationship Id="rId55" Type="http://schemas.openxmlformats.org/officeDocument/2006/relationships/tags" Target="../tags/tag356.xml"/><Relationship Id="rId76" Type="http://schemas.openxmlformats.org/officeDocument/2006/relationships/tags" Target="../tags/tag377.xml"/><Relationship Id="rId97" Type="http://schemas.openxmlformats.org/officeDocument/2006/relationships/tags" Target="../tags/tag398.xml"/><Relationship Id="rId104" Type="http://schemas.openxmlformats.org/officeDocument/2006/relationships/tags" Target="../tags/tag405.xml"/><Relationship Id="rId7" Type="http://schemas.openxmlformats.org/officeDocument/2006/relationships/tags" Target="../tags/tag308.xml"/><Relationship Id="rId71" Type="http://schemas.openxmlformats.org/officeDocument/2006/relationships/tags" Target="../tags/tag372.xml"/><Relationship Id="rId92" Type="http://schemas.openxmlformats.org/officeDocument/2006/relationships/tags" Target="../tags/tag393.xml"/><Relationship Id="rId2" Type="http://schemas.openxmlformats.org/officeDocument/2006/relationships/tags" Target="../tags/tag303.xml"/><Relationship Id="rId29" Type="http://schemas.openxmlformats.org/officeDocument/2006/relationships/tags" Target="../tags/tag33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0.xml"/><Relationship Id="rId4" Type="http://schemas.openxmlformats.org/officeDocument/2006/relationships/image" Target="../media/image45.gi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417.xml"/><Relationship Id="rId13" Type="http://schemas.openxmlformats.org/officeDocument/2006/relationships/tags" Target="../tags/tag422.xml"/><Relationship Id="rId18" Type="http://schemas.openxmlformats.org/officeDocument/2006/relationships/tags" Target="../tags/tag427.xml"/><Relationship Id="rId26" Type="http://schemas.openxmlformats.org/officeDocument/2006/relationships/image" Target="../media/image20.jpeg"/><Relationship Id="rId3" Type="http://schemas.openxmlformats.org/officeDocument/2006/relationships/tags" Target="../tags/tag412.xml"/><Relationship Id="rId21" Type="http://schemas.openxmlformats.org/officeDocument/2006/relationships/slideLayout" Target="../slideLayouts/slideLayout4.xml"/><Relationship Id="rId7" Type="http://schemas.openxmlformats.org/officeDocument/2006/relationships/tags" Target="../tags/tag416.xml"/><Relationship Id="rId12" Type="http://schemas.openxmlformats.org/officeDocument/2006/relationships/tags" Target="../tags/tag421.xml"/><Relationship Id="rId17" Type="http://schemas.openxmlformats.org/officeDocument/2006/relationships/tags" Target="../tags/tag426.xml"/><Relationship Id="rId25" Type="http://schemas.openxmlformats.org/officeDocument/2006/relationships/image" Target="../media/image46.emf"/><Relationship Id="rId2" Type="http://schemas.openxmlformats.org/officeDocument/2006/relationships/tags" Target="../tags/tag411.xml"/><Relationship Id="rId16" Type="http://schemas.openxmlformats.org/officeDocument/2006/relationships/tags" Target="../tags/tag425.xml"/><Relationship Id="rId20" Type="http://schemas.openxmlformats.org/officeDocument/2006/relationships/tags" Target="../tags/tag429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15.xml"/><Relationship Id="rId11" Type="http://schemas.openxmlformats.org/officeDocument/2006/relationships/tags" Target="../tags/tag420.xml"/><Relationship Id="rId24" Type="http://schemas.openxmlformats.org/officeDocument/2006/relationships/oleObject" Target="../embeddings/oleObject24.bin"/><Relationship Id="rId5" Type="http://schemas.openxmlformats.org/officeDocument/2006/relationships/tags" Target="../tags/tag414.xml"/><Relationship Id="rId15" Type="http://schemas.openxmlformats.org/officeDocument/2006/relationships/tags" Target="../tags/tag424.xml"/><Relationship Id="rId23" Type="http://schemas.openxmlformats.org/officeDocument/2006/relationships/oleObject" Target="../embeddings/oleObject23.bin"/><Relationship Id="rId10" Type="http://schemas.openxmlformats.org/officeDocument/2006/relationships/tags" Target="../tags/tag419.xml"/><Relationship Id="rId19" Type="http://schemas.openxmlformats.org/officeDocument/2006/relationships/tags" Target="../tags/tag428.xml"/><Relationship Id="rId4" Type="http://schemas.openxmlformats.org/officeDocument/2006/relationships/tags" Target="../tags/tag413.xml"/><Relationship Id="rId9" Type="http://schemas.openxmlformats.org/officeDocument/2006/relationships/tags" Target="../tags/tag418.xml"/><Relationship Id="rId14" Type="http://schemas.openxmlformats.org/officeDocument/2006/relationships/tags" Target="../tags/tag423.xml"/><Relationship Id="rId22" Type="http://schemas.openxmlformats.org/officeDocument/2006/relationships/notesSlide" Target="../notesSlides/notesSlide1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436.xml"/><Relationship Id="rId13" Type="http://schemas.openxmlformats.org/officeDocument/2006/relationships/tags" Target="../tags/tag441.xml"/><Relationship Id="rId18" Type="http://schemas.openxmlformats.org/officeDocument/2006/relationships/tags" Target="../tags/tag446.xml"/><Relationship Id="rId26" Type="http://schemas.openxmlformats.org/officeDocument/2006/relationships/tags" Target="../tags/tag454.xml"/><Relationship Id="rId39" Type="http://schemas.openxmlformats.org/officeDocument/2006/relationships/image" Target="../media/image49.jpeg"/><Relationship Id="rId3" Type="http://schemas.openxmlformats.org/officeDocument/2006/relationships/tags" Target="../tags/tag431.xml"/><Relationship Id="rId21" Type="http://schemas.openxmlformats.org/officeDocument/2006/relationships/tags" Target="../tags/tag449.xml"/><Relationship Id="rId34" Type="http://schemas.openxmlformats.org/officeDocument/2006/relationships/slideLayout" Target="../slideLayouts/slideLayout4.xml"/><Relationship Id="rId42" Type="http://schemas.openxmlformats.org/officeDocument/2006/relationships/image" Target="../media/image50.png"/><Relationship Id="rId7" Type="http://schemas.openxmlformats.org/officeDocument/2006/relationships/tags" Target="../tags/tag435.xml"/><Relationship Id="rId12" Type="http://schemas.openxmlformats.org/officeDocument/2006/relationships/tags" Target="../tags/tag440.xml"/><Relationship Id="rId17" Type="http://schemas.openxmlformats.org/officeDocument/2006/relationships/tags" Target="../tags/tag445.xml"/><Relationship Id="rId25" Type="http://schemas.openxmlformats.org/officeDocument/2006/relationships/tags" Target="../tags/tag453.xml"/><Relationship Id="rId33" Type="http://schemas.openxmlformats.org/officeDocument/2006/relationships/tags" Target="../tags/tag461.xml"/><Relationship Id="rId38" Type="http://schemas.openxmlformats.org/officeDocument/2006/relationships/hyperlink" Target="http://www.cewecolor.de/javasc" TargetMode="External"/><Relationship Id="rId2" Type="http://schemas.openxmlformats.org/officeDocument/2006/relationships/tags" Target="../tags/tag430.xml"/><Relationship Id="rId16" Type="http://schemas.openxmlformats.org/officeDocument/2006/relationships/tags" Target="../tags/tag444.xml"/><Relationship Id="rId20" Type="http://schemas.openxmlformats.org/officeDocument/2006/relationships/tags" Target="../tags/tag448.xml"/><Relationship Id="rId29" Type="http://schemas.openxmlformats.org/officeDocument/2006/relationships/tags" Target="../tags/tag457.xml"/><Relationship Id="rId41" Type="http://schemas.openxmlformats.org/officeDocument/2006/relationships/image" Target="../media/image48.emf"/><Relationship Id="rId1" Type="http://schemas.openxmlformats.org/officeDocument/2006/relationships/vmlDrawing" Target="../drawings/vmlDrawing16.vml"/><Relationship Id="rId6" Type="http://schemas.openxmlformats.org/officeDocument/2006/relationships/tags" Target="../tags/tag434.xml"/><Relationship Id="rId11" Type="http://schemas.openxmlformats.org/officeDocument/2006/relationships/tags" Target="../tags/tag439.xml"/><Relationship Id="rId24" Type="http://schemas.openxmlformats.org/officeDocument/2006/relationships/tags" Target="../tags/tag452.xml"/><Relationship Id="rId32" Type="http://schemas.openxmlformats.org/officeDocument/2006/relationships/tags" Target="../tags/tag460.xml"/><Relationship Id="rId37" Type="http://schemas.openxmlformats.org/officeDocument/2006/relationships/image" Target="../media/image47.emf"/><Relationship Id="rId40" Type="http://schemas.openxmlformats.org/officeDocument/2006/relationships/oleObject" Target="../embeddings/oleObject26.bin"/><Relationship Id="rId5" Type="http://schemas.openxmlformats.org/officeDocument/2006/relationships/tags" Target="../tags/tag433.xml"/><Relationship Id="rId15" Type="http://schemas.openxmlformats.org/officeDocument/2006/relationships/tags" Target="../tags/tag443.xml"/><Relationship Id="rId23" Type="http://schemas.openxmlformats.org/officeDocument/2006/relationships/tags" Target="../tags/tag451.xml"/><Relationship Id="rId28" Type="http://schemas.openxmlformats.org/officeDocument/2006/relationships/tags" Target="../tags/tag456.xml"/><Relationship Id="rId36" Type="http://schemas.openxmlformats.org/officeDocument/2006/relationships/oleObject" Target="../embeddings/oleObject25.bin"/><Relationship Id="rId10" Type="http://schemas.openxmlformats.org/officeDocument/2006/relationships/tags" Target="../tags/tag438.xml"/><Relationship Id="rId19" Type="http://schemas.openxmlformats.org/officeDocument/2006/relationships/tags" Target="../tags/tag447.xml"/><Relationship Id="rId31" Type="http://schemas.openxmlformats.org/officeDocument/2006/relationships/tags" Target="../tags/tag459.xml"/><Relationship Id="rId44" Type="http://schemas.openxmlformats.org/officeDocument/2006/relationships/image" Target="../media/image20.jpeg"/><Relationship Id="rId4" Type="http://schemas.openxmlformats.org/officeDocument/2006/relationships/tags" Target="../tags/tag432.xml"/><Relationship Id="rId9" Type="http://schemas.openxmlformats.org/officeDocument/2006/relationships/tags" Target="../tags/tag437.xml"/><Relationship Id="rId14" Type="http://schemas.openxmlformats.org/officeDocument/2006/relationships/tags" Target="../tags/tag442.xml"/><Relationship Id="rId22" Type="http://schemas.openxmlformats.org/officeDocument/2006/relationships/tags" Target="../tags/tag450.xml"/><Relationship Id="rId27" Type="http://schemas.openxmlformats.org/officeDocument/2006/relationships/tags" Target="../tags/tag455.xml"/><Relationship Id="rId30" Type="http://schemas.openxmlformats.org/officeDocument/2006/relationships/tags" Target="../tags/tag458.xml"/><Relationship Id="rId35" Type="http://schemas.openxmlformats.org/officeDocument/2006/relationships/notesSlide" Target="../notesSlides/notesSlide16.xml"/><Relationship Id="rId43" Type="http://schemas.openxmlformats.org/officeDocument/2006/relationships/image" Target="../media/image5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3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3.v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chart" Target="../charts/chart1.xml"/><Relationship Id="rId4" Type="http://schemas.openxmlformats.org/officeDocument/2006/relationships/tags" Target="../tags/tag27.xml"/><Relationship Id="rId9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apple.com/de/iphone/gettingstarted/guidedtour.html" TargetMode="External"/><Relationship Id="rId13" Type="http://schemas.openxmlformats.org/officeDocument/2006/relationships/image" Target="../media/image15.jpeg"/><Relationship Id="rId3" Type="http://schemas.openxmlformats.org/officeDocument/2006/relationships/tags" Target="../tags/tag32.xml"/><Relationship Id="rId7" Type="http://schemas.openxmlformats.org/officeDocument/2006/relationships/image" Target="../media/image12.png"/><Relationship Id="rId12" Type="http://schemas.openxmlformats.org/officeDocument/2006/relationships/hyperlink" Target="http://www.google.se/imgres?imgurl=http://www.ptsoft.com/ennouncements/2005/September/barcode.jpg&amp;imgrefurl=http://barfblog.foodsafety.ksu.edu/tags/bar-code/&amp;h=320&amp;w=432&amp;sz=27&amp;tbnid=jNP4dbOlZpGgkM:&amp;tbnh=93&amp;tbnw=126&amp;prev=/images?q=bar+code&amp;hl=de&amp;usg=__3CDzQV8vpo2gekqHDayKLo7rg9I=&amp;ei=TViWSrjAAYvilAfBt6WuDA&amp;sa=X&amp;oi=image_result&amp;resnum=2&amp;ct=image" TargetMode="Externa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14.jpeg"/><Relationship Id="rId5" Type="http://schemas.openxmlformats.org/officeDocument/2006/relationships/slideLayout" Target="../slideLayouts/slideLayout4.xml"/><Relationship Id="rId15" Type="http://schemas.openxmlformats.org/officeDocument/2006/relationships/image" Target="../media/image17.png"/><Relationship Id="rId10" Type="http://schemas.openxmlformats.org/officeDocument/2006/relationships/hyperlink" Target="http://www.google.se/imgres?imgurl=http://www.tri-c.edu/career/workforce/Logistics/PublishingImages/rfid-tag.jpg&amp;imgrefurl=http://www.tri-c.edu/career/workforce/Logistics/Pages/RFID.aspx&amp;h=300&amp;w=400&amp;sz=21&amp;tbnid=-lMggrpWXEQ9wM:&amp;tbnh=93&amp;tbnw=124&amp;prev=/images?q=rfid+picture&amp;hl=de&amp;usg=__Ifi8uVZIi4AxZdNSHJ-XN1GdALw=&amp;ei=Z1iWSpK0JtXZlAeTpeXBDA&amp;sa=X&amp;oi=image_result&amp;resnum=2&amp;ct=image" TargetMode="External"/><Relationship Id="rId4" Type="http://schemas.openxmlformats.org/officeDocument/2006/relationships/tags" Target="../tags/tag33.xml"/><Relationship Id="rId9" Type="http://schemas.openxmlformats.org/officeDocument/2006/relationships/image" Target="../media/image13.jpeg"/><Relationship Id="rId1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26" Type="http://schemas.openxmlformats.org/officeDocument/2006/relationships/tags" Target="../tags/tag58.xml"/><Relationship Id="rId39" Type="http://schemas.openxmlformats.org/officeDocument/2006/relationships/tags" Target="../tags/tag71.xml"/><Relationship Id="rId21" Type="http://schemas.openxmlformats.org/officeDocument/2006/relationships/tags" Target="../tags/tag53.xml"/><Relationship Id="rId34" Type="http://schemas.openxmlformats.org/officeDocument/2006/relationships/tags" Target="../tags/tag66.xml"/><Relationship Id="rId42" Type="http://schemas.openxmlformats.org/officeDocument/2006/relationships/tags" Target="../tags/tag74.xml"/><Relationship Id="rId47" Type="http://schemas.openxmlformats.org/officeDocument/2006/relationships/tags" Target="../tags/tag79.xml"/><Relationship Id="rId50" Type="http://schemas.openxmlformats.org/officeDocument/2006/relationships/tags" Target="../tags/tag82.xml"/><Relationship Id="rId55" Type="http://schemas.openxmlformats.org/officeDocument/2006/relationships/tags" Target="../tags/tag87.xml"/><Relationship Id="rId63" Type="http://schemas.openxmlformats.org/officeDocument/2006/relationships/notesSlide" Target="../notesSlides/notesSlide4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tags" Target="../tags/tag52.xml"/><Relationship Id="rId29" Type="http://schemas.openxmlformats.org/officeDocument/2006/relationships/tags" Target="../tags/tag61.xml"/><Relationship Id="rId41" Type="http://schemas.openxmlformats.org/officeDocument/2006/relationships/tags" Target="../tags/tag73.xml"/><Relationship Id="rId54" Type="http://schemas.openxmlformats.org/officeDocument/2006/relationships/tags" Target="../tags/tag86.xml"/><Relationship Id="rId62" Type="http://schemas.openxmlformats.org/officeDocument/2006/relationships/slideLayout" Target="../slideLayouts/slideLayout4.xml"/><Relationship Id="rId1" Type="http://schemas.openxmlformats.org/officeDocument/2006/relationships/vmlDrawing" Target="../drawings/vmlDrawing4.v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24" Type="http://schemas.openxmlformats.org/officeDocument/2006/relationships/tags" Target="../tags/tag56.xml"/><Relationship Id="rId32" Type="http://schemas.openxmlformats.org/officeDocument/2006/relationships/tags" Target="../tags/tag64.xml"/><Relationship Id="rId37" Type="http://schemas.openxmlformats.org/officeDocument/2006/relationships/tags" Target="../tags/tag69.xml"/><Relationship Id="rId40" Type="http://schemas.openxmlformats.org/officeDocument/2006/relationships/tags" Target="../tags/tag72.xml"/><Relationship Id="rId45" Type="http://schemas.openxmlformats.org/officeDocument/2006/relationships/tags" Target="../tags/tag77.xml"/><Relationship Id="rId53" Type="http://schemas.openxmlformats.org/officeDocument/2006/relationships/tags" Target="../tags/tag85.xml"/><Relationship Id="rId58" Type="http://schemas.openxmlformats.org/officeDocument/2006/relationships/tags" Target="../tags/tag90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tags" Target="../tags/tag55.xml"/><Relationship Id="rId28" Type="http://schemas.openxmlformats.org/officeDocument/2006/relationships/tags" Target="../tags/tag60.xml"/><Relationship Id="rId36" Type="http://schemas.openxmlformats.org/officeDocument/2006/relationships/tags" Target="../tags/tag68.xml"/><Relationship Id="rId49" Type="http://schemas.openxmlformats.org/officeDocument/2006/relationships/tags" Target="../tags/tag81.xml"/><Relationship Id="rId57" Type="http://schemas.openxmlformats.org/officeDocument/2006/relationships/tags" Target="../tags/tag89.xml"/><Relationship Id="rId61" Type="http://schemas.openxmlformats.org/officeDocument/2006/relationships/tags" Target="../tags/tag93.xml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31" Type="http://schemas.openxmlformats.org/officeDocument/2006/relationships/tags" Target="../tags/tag63.xml"/><Relationship Id="rId44" Type="http://schemas.openxmlformats.org/officeDocument/2006/relationships/tags" Target="../tags/tag76.xml"/><Relationship Id="rId52" Type="http://schemas.openxmlformats.org/officeDocument/2006/relationships/tags" Target="../tags/tag84.xml"/><Relationship Id="rId60" Type="http://schemas.openxmlformats.org/officeDocument/2006/relationships/tags" Target="../tags/tag9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tags" Target="../tags/tag54.xml"/><Relationship Id="rId27" Type="http://schemas.openxmlformats.org/officeDocument/2006/relationships/tags" Target="../tags/tag59.xml"/><Relationship Id="rId30" Type="http://schemas.openxmlformats.org/officeDocument/2006/relationships/tags" Target="../tags/tag62.xml"/><Relationship Id="rId35" Type="http://schemas.openxmlformats.org/officeDocument/2006/relationships/tags" Target="../tags/tag67.xml"/><Relationship Id="rId43" Type="http://schemas.openxmlformats.org/officeDocument/2006/relationships/tags" Target="../tags/tag75.xml"/><Relationship Id="rId48" Type="http://schemas.openxmlformats.org/officeDocument/2006/relationships/tags" Target="../tags/tag80.xml"/><Relationship Id="rId56" Type="http://schemas.openxmlformats.org/officeDocument/2006/relationships/tags" Target="../tags/tag88.xml"/><Relationship Id="rId64" Type="http://schemas.openxmlformats.org/officeDocument/2006/relationships/oleObject" Target="../embeddings/oleObject4.bin"/><Relationship Id="rId8" Type="http://schemas.openxmlformats.org/officeDocument/2006/relationships/tags" Target="../tags/tag40.xml"/><Relationship Id="rId51" Type="http://schemas.openxmlformats.org/officeDocument/2006/relationships/tags" Target="../tags/tag83.xml"/><Relationship Id="rId3" Type="http://schemas.openxmlformats.org/officeDocument/2006/relationships/tags" Target="../tags/tag35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tags" Target="../tags/tag57.xml"/><Relationship Id="rId33" Type="http://schemas.openxmlformats.org/officeDocument/2006/relationships/tags" Target="../tags/tag65.xml"/><Relationship Id="rId38" Type="http://schemas.openxmlformats.org/officeDocument/2006/relationships/tags" Target="../tags/tag70.xml"/><Relationship Id="rId46" Type="http://schemas.openxmlformats.org/officeDocument/2006/relationships/tags" Target="../tags/tag78.xml"/><Relationship Id="rId59" Type="http://schemas.openxmlformats.org/officeDocument/2006/relationships/tags" Target="../tags/tag9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4.xml"/><Relationship Id="rId4" Type="http://schemas.openxmlformats.org/officeDocument/2006/relationships/image" Target="../media/image18.gi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oleObject" Target="../embeddings/oleObject6.bin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image" Target="../media/image11.emf"/><Relationship Id="rId2" Type="http://schemas.openxmlformats.org/officeDocument/2006/relationships/tags" Target="../tags/tag95.xml"/><Relationship Id="rId16" Type="http://schemas.openxmlformats.org/officeDocument/2006/relationships/oleObject" Target="../embeddings/oleObject5.bin"/><Relationship Id="rId20" Type="http://schemas.openxmlformats.org/officeDocument/2006/relationships/image" Target="../media/image20.jpeg"/><Relationship Id="rId1" Type="http://schemas.openxmlformats.org/officeDocument/2006/relationships/vmlDrawing" Target="../drawings/vmlDrawing5.v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5" Type="http://schemas.openxmlformats.org/officeDocument/2006/relationships/tags" Target="../tags/tag98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103.xml"/><Relationship Id="rId19" Type="http://schemas.openxmlformats.org/officeDocument/2006/relationships/image" Target="../media/image19.emf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tags" Target="../tags/tag119.xml"/><Relationship Id="rId18" Type="http://schemas.openxmlformats.org/officeDocument/2006/relationships/tags" Target="../tags/tag124.xml"/><Relationship Id="rId26" Type="http://schemas.openxmlformats.org/officeDocument/2006/relationships/image" Target="../media/image22.jpeg"/><Relationship Id="rId3" Type="http://schemas.openxmlformats.org/officeDocument/2006/relationships/tags" Target="../tags/tag109.xml"/><Relationship Id="rId21" Type="http://schemas.openxmlformats.org/officeDocument/2006/relationships/tags" Target="../tags/tag127.xml"/><Relationship Id="rId7" Type="http://schemas.openxmlformats.org/officeDocument/2006/relationships/tags" Target="../tags/tag113.xml"/><Relationship Id="rId12" Type="http://schemas.openxmlformats.org/officeDocument/2006/relationships/tags" Target="../tags/tag118.xml"/><Relationship Id="rId17" Type="http://schemas.openxmlformats.org/officeDocument/2006/relationships/tags" Target="../tags/tag123.xml"/><Relationship Id="rId25" Type="http://schemas.openxmlformats.org/officeDocument/2006/relationships/image" Target="../media/image21.emf"/><Relationship Id="rId2" Type="http://schemas.openxmlformats.org/officeDocument/2006/relationships/tags" Target="../tags/tag108.xml"/><Relationship Id="rId16" Type="http://schemas.openxmlformats.org/officeDocument/2006/relationships/tags" Target="../tags/tag122.xml"/><Relationship Id="rId20" Type="http://schemas.openxmlformats.org/officeDocument/2006/relationships/tags" Target="../tags/tag126.xml"/><Relationship Id="rId29" Type="http://schemas.microsoft.com/office/2007/relationships/hdphoto" Target="../media/hdphoto1.wdp"/><Relationship Id="rId1" Type="http://schemas.openxmlformats.org/officeDocument/2006/relationships/vmlDrawing" Target="../drawings/vmlDrawing6.vml"/><Relationship Id="rId6" Type="http://schemas.openxmlformats.org/officeDocument/2006/relationships/tags" Target="../tags/tag112.xml"/><Relationship Id="rId11" Type="http://schemas.openxmlformats.org/officeDocument/2006/relationships/tags" Target="../tags/tag117.xml"/><Relationship Id="rId24" Type="http://schemas.openxmlformats.org/officeDocument/2006/relationships/oleObject" Target="../embeddings/oleObject7.bin"/><Relationship Id="rId5" Type="http://schemas.openxmlformats.org/officeDocument/2006/relationships/tags" Target="../tags/tag111.xml"/><Relationship Id="rId15" Type="http://schemas.openxmlformats.org/officeDocument/2006/relationships/tags" Target="../tags/tag121.xml"/><Relationship Id="rId23" Type="http://schemas.openxmlformats.org/officeDocument/2006/relationships/notesSlide" Target="../notesSlides/notesSlide6.xml"/><Relationship Id="rId28" Type="http://schemas.openxmlformats.org/officeDocument/2006/relationships/image" Target="../media/image24.jpeg"/><Relationship Id="rId10" Type="http://schemas.openxmlformats.org/officeDocument/2006/relationships/tags" Target="../tags/tag116.xml"/><Relationship Id="rId19" Type="http://schemas.openxmlformats.org/officeDocument/2006/relationships/tags" Target="../tags/tag125.xml"/><Relationship Id="rId31" Type="http://schemas.openxmlformats.org/officeDocument/2006/relationships/image" Target="../media/image26.jpeg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4" Type="http://schemas.openxmlformats.org/officeDocument/2006/relationships/tags" Target="../tags/tag120.xml"/><Relationship Id="rId22" Type="http://schemas.openxmlformats.org/officeDocument/2006/relationships/slideLayout" Target="../slideLayouts/slideLayout4.xml"/><Relationship Id="rId27" Type="http://schemas.openxmlformats.org/officeDocument/2006/relationships/image" Target="../media/image23.jpeg"/><Relationship Id="rId30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8.xml"/><Relationship Id="rId4" Type="http://schemas.openxmlformats.org/officeDocument/2006/relationships/image" Target="../media/image18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32117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7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223" name="Picture 167" descr="C:\Users\kengel01\Documents\ATK\Operations Practice\European OPS Themes\Innovation CC\20120809 InnovationBild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691" b="38577"/>
          <a:stretch/>
        </p:blipFill>
        <p:spPr bwMode="auto">
          <a:xfrm>
            <a:off x="-3693" y="714071"/>
            <a:ext cx="9147693" cy="2266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244800" y="3685032"/>
            <a:ext cx="8642350" cy="886397"/>
          </a:xfrm>
        </p:spPr>
        <p:txBody>
          <a:bodyPr/>
          <a:lstStyle/>
          <a:p>
            <a:r>
              <a:rPr lang="cs-CZ" sz="3200" dirty="0" smtClean="0"/>
              <a:t>Nejlepší řízení inovací jako cesta k ziskovému růstu – </a:t>
            </a:r>
            <a:r>
              <a:rPr lang="en-US" sz="3200" dirty="0" smtClean="0"/>
              <a:t>6</a:t>
            </a:r>
            <a:r>
              <a:rPr lang="cs-CZ" sz="3200" dirty="0" smtClean="0"/>
              <a:t> faktorů úspěchu</a:t>
            </a:r>
            <a:endParaRPr lang="cs-CZ" sz="3200" dirty="0"/>
          </a:p>
        </p:txBody>
      </p:sp>
      <p:sp>
        <p:nvSpPr>
          <p:cNvPr id="15" name="Subtitle 14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cs-CZ" dirty="0" smtClean="0"/>
              <a:t>Řízení inovací</a:t>
            </a:r>
            <a:endParaRPr lang="cs-CZ" dirty="0"/>
          </a:p>
        </p:txBody>
      </p:sp>
      <p:sp>
        <p:nvSpPr>
          <p:cNvPr id="11" name="Text Placeholder 23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244800" y="5073438"/>
            <a:ext cx="3967917" cy="387798"/>
          </a:xfrm>
        </p:spPr>
        <p:txBody>
          <a:bodyPr/>
          <a:lstStyle/>
          <a:p>
            <a:r>
              <a:rPr lang="cs-CZ" dirty="0" smtClean="0"/>
              <a:t>Pátek, 30. prosince 2012</a:t>
            </a:r>
          </a:p>
          <a:p>
            <a:pPr>
              <a:spcBef>
                <a:spcPts val="0"/>
              </a:spcBef>
            </a:pPr>
            <a:r>
              <a:rPr lang="cs-CZ" dirty="0" smtClean="0"/>
              <a:t>Praha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61826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9" name="Rectangle 3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54640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34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31" name="Rectangle 60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9367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vert="horz" wrap="none" lIns="0" tIns="0" rIns="0" bIns="0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dirty="0">
              <a:latin typeface="Arial"/>
              <a:cs typeface="Arial"/>
              <a:sym typeface="Arial"/>
            </a:endParaRPr>
          </a:p>
        </p:txBody>
      </p:sp>
      <p:pic>
        <p:nvPicPr>
          <p:cNvPr id="9220" name="Picture 2" descr="magic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171575" y="1270000"/>
            <a:ext cx="117475" cy="127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9221" name="Rectangle 3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244800" y="804672"/>
            <a:ext cx="8640000" cy="664797"/>
          </a:xfrm>
        </p:spPr>
        <p:txBody>
          <a:bodyPr/>
          <a:lstStyle/>
          <a:p>
            <a:pPr marL="361950">
              <a:defRPr/>
            </a:pPr>
            <a:r>
              <a:rPr lang="cs-CZ" dirty="0" smtClean="0"/>
              <a:t>Směry pro hledání inovací jsou klíčovou součástí inovační strategie nejlepších inovátorů</a:t>
            </a:r>
          </a:p>
        </p:txBody>
      </p:sp>
      <p:sp>
        <p:nvSpPr>
          <p:cNvPr id="9222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44475" y="1628140"/>
            <a:ext cx="6842760" cy="47089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cs-CZ" b="1" dirty="0" smtClean="0">
                <a:latin typeface="Arial"/>
              </a:rPr>
              <a:t>Směry pro hledání inovací </a:t>
            </a:r>
            <a:r>
              <a:rPr lang="cs-CZ" b="1" dirty="0" smtClean="0">
                <a:latin typeface="Arial"/>
              </a:rPr>
              <a:t>jsou součástí </a:t>
            </a:r>
            <a:r>
              <a:rPr lang="cs-CZ" b="1" dirty="0" smtClean="0">
                <a:latin typeface="Arial"/>
              </a:rPr>
              <a:t>inovační strategie </a:t>
            </a:r>
            <a:br>
              <a:rPr lang="cs-CZ" b="1" dirty="0" smtClean="0">
                <a:latin typeface="Arial"/>
              </a:rPr>
            </a:br>
            <a:r>
              <a:rPr lang="cs-CZ" sz="1600" dirty="0" smtClean="0">
                <a:latin typeface="Arial"/>
              </a:rPr>
              <a:t>(% účastníků)</a:t>
            </a:r>
            <a:endParaRPr lang="cs-CZ" sz="1600" baseline="30000" dirty="0">
              <a:latin typeface="Arial"/>
            </a:endParaRPr>
          </a:p>
        </p:txBody>
      </p:sp>
      <p:sp>
        <p:nvSpPr>
          <p:cNvPr id="42" name="Rectangle 41"/>
          <p:cNvSpPr/>
          <p:nvPr>
            <p:custDataLst>
              <p:tags r:id="rId7"/>
            </p:custDataLst>
          </p:nvPr>
        </p:nvSpPr>
        <p:spPr bwMode="gray">
          <a:xfrm>
            <a:off x="245110" y="6368288"/>
            <a:ext cx="6400800" cy="368300"/>
          </a:xfrm>
          <a:prstGeom prst="rect">
            <a:avLst/>
          </a:prstGeom>
          <a:noFill/>
          <a:ln w="6350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rnd" cmpd="sng" algn="ctr">
                <a:solidFill>
                  <a:srgbClr val="ADABA1"/>
                </a:solidFill>
                <a:prstDash val="solid"/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b" anchorCtr="0">
            <a:noAutofit/>
          </a:bodyPr>
          <a:lstStyle/>
          <a:p>
            <a:pPr marL="137160" indent="-137160">
              <a:lnSpc>
                <a:spcPct val="90000"/>
              </a:lnSpc>
              <a:defRPr/>
            </a:pPr>
            <a:endParaRPr lang="cs-CZ" sz="8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37160" indent="-137160">
              <a:lnSpc>
                <a:spcPct val="90000"/>
              </a:lnSpc>
              <a:defRPr/>
            </a:pPr>
            <a:endParaRPr lang="cs-CZ" sz="8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37160" indent="-137160">
              <a:lnSpc>
                <a:spcPct val="90000"/>
              </a:lnSpc>
              <a:defRPr/>
            </a:pPr>
            <a:r>
              <a:rPr lang="cs-CZ" sz="800" dirty="0" smtClean="0">
                <a:solidFill>
                  <a:schemeClr val="tx1"/>
                </a:solidFill>
                <a:latin typeface="Arial"/>
                <a:cs typeface="Arial" pitchFamily="34" charset="0"/>
              </a:rPr>
              <a:t>Zdroj: A.T. Kearney Best Innovator 2012</a:t>
            </a:r>
            <a:endParaRPr lang="cs-CZ" sz="800" dirty="0">
              <a:solidFill>
                <a:schemeClr val="tx1"/>
              </a:solidFill>
              <a:latin typeface="Arial"/>
              <a:cs typeface="Arial" pitchFamily="34" charset="0"/>
            </a:endParaRPr>
          </a:p>
        </p:txBody>
      </p:sp>
      <p:sp>
        <p:nvSpPr>
          <p:cNvPr id="43" name="Oval 42"/>
          <p:cNvSpPr/>
          <p:nvPr>
            <p:custDataLst>
              <p:tags r:id="rId8"/>
            </p:custDataLst>
          </p:nvPr>
        </p:nvSpPr>
        <p:spPr>
          <a:xfrm>
            <a:off x="246380" y="804672"/>
            <a:ext cx="279400" cy="279400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cs-CZ" sz="1600" b="1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2</a:t>
            </a:r>
          </a:p>
        </p:txBody>
      </p:sp>
      <p:graphicFrame>
        <p:nvGraphicFramePr>
          <p:cNvPr id="2" name="Object 1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84264076"/>
              </p:ext>
            </p:extLst>
          </p:nvPr>
        </p:nvGraphicFramePr>
        <p:xfrm>
          <a:off x="1839913" y="2451100"/>
          <a:ext cx="5438843" cy="3371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35" name="Chart" r:id="rId20" imgW="5438843" imgH="3371850" progId="MSGraph.Chart.8">
                  <p:embed followColorScheme="full"/>
                </p:oleObj>
              </mc:Choice>
              <mc:Fallback>
                <p:oleObj name="Chart" r:id="rId20" imgW="5438843" imgH="337185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839913" y="2451100"/>
                        <a:ext cx="5438843" cy="3371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/>
          <p:nvPr>
            <p:custDataLst>
              <p:tags r:id="rId10"/>
            </p:custDataLst>
          </p:nvPr>
        </p:nvSpPr>
        <p:spPr bwMode="auto">
          <a:xfrm>
            <a:off x="4764088" y="5822950"/>
            <a:ext cx="2219325" cy="192088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A160761-1D4F-4E68-A3B7-5A9A1E42D715}" type="datetime'Pr''ů''měr'''' ''ú''ča''s''tn''''ík''ů ''''''s''out''ě''''že'">
              <a:rPr lang="en-US" sz="1400" b="1">
                <a:solidFill>
                  <a:schemeClr val="tx1"/>
                </a:solidFill>
                <a:cs typeface="Arial"/>
              </a:rPr>
              <a:pPr/>
              <a:t>Průměr účastníků soutěže</a:t>
            </a:fld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Rectangle 4"/>
          <p:cNvSpPr/>
          <p:nvPr>
            <p:custDataLst>
              <p:tags r:id="rId11"/>
            </p:custDataLst>
          </p:nvPr>
        </p:nvSpPr>
        <p:spPr bwMode="auto">
          <a:xfrm>
            <a:off x="3071813" y="2328863"/>
            <a:ext cx="355600" cy="192088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B804E9D-FE26-422A-B8F8-FE1179E9B4D2}" type="datetime'''9''''''''''''''''''''0''''''''''''''''''''''''''%'">
              <a:rPr lang="cs-CZ" sz="1400" b="1" smtClean="0">
                <a:solidFill>
                  <a:schemeClr val="tx1"/>
                </a:solidFill>
                <a:cs typeface="Arial"/>
              </a:rPr>
              <a:pPr/>
              <a:t>90%</a:t>
            </a:fld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" name="Rectangle 2"/>
          <p:cNvSpPr/>
          <p:nvPr>
            <p:custDataLst>
              <p:tags r:id="rId12"/>
            </p:custDataLst>
          </p:nvPr>
        </p:nvSpPr>
        <p:spPr bwMode="auto">
          <a:xfrm>
            <a:off x="2239963" y="5822950"/>
            <a:ext cx="2020888" cy="192088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D408105-A05F-4E67-B52D-0A49C31825F0}" type="datetime'''''Vít''ěz''o''vé Be''st ''''In''no''''''''vat''''''or'''''">
              <a:rPr lang="cs-CZ" sz="1400" b="1" smtClean="0">
                <a:solidFill>
                  <a:schemeClr val="tx1"/>
                </a:solidFill>
                <a:cs typeface="Arial"/>
              </a:rPr>
              <a:pPr/>
              <a:t>Vítězové Best Innovator</a:t>
            </a:fld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Rectangle 5"/>
          <p:cNvSpPr/>
          <p:nvPr>
            <p:custDataLst>
              <p:tags r:id="rId13"/>
            </p:custDataLst>
          </p:nvPr>
        </p:nvSpPr>
        <p:spPr bwMode="auto">
          <a:xfrm>
            <a:off x="5695950" y="2881313"/>
            <a:ext cx="355600" cy="192088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56EA7FC-22A6-4CAA-A433-14693B65DE47}" type="datetime'''7''''''''''''''''''''4''''''''''%'''">
              <a:rPr lang="cs-CZ" sz="1400" b="1" smtClean="0">
                <a:solidFill>
                  <a:schemeClr val="tx1"/>
                </a:solidFill>
                <a:cs typeface="Arial"/>
              </a:rPr>
              <a:pPr/>
              <a:t>74%</a:t>
            </a:fld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4" name="Picture 5" descr="Best Innovator klein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458522" y="1444625"/>
            <a:ext cx="36195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>
            <p:custDataLst>
              <p:tags r:id="rId15"/>
            </p:custDataLst>
          </p:nvPr>
        </p:nvSpPr>
        <p:spPr>
          <a:xfrm>
            <a:off x="7621358" y="139700"/>
            <a:ext cx="1271182" cy="1661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200" dirty="0" smtClean="0">
                <a:latin typeface="Arial"/>
              </a:rPr>
              <a:t>Faktor úspěchu </a:t>
            </a:r>
            <a:r>
              <a:rPr lang="en-US" sz="1200" dirty="0" smtClean="0">
                <a:latin typeface="Arial"/>
              </a:rPr>
              <a:t>#</a:t>
            </a:r>
            <a:r>
              <a:rPr lang="cs-CZ" sz="1200" dirty="0" smtClean="0">
                <a:latin typeface="Arial"/>
              </a:rPr>
              <a:t>2</a:t>
            </a:r>
            <a:endParaRPr lang="cs-CZ" sz="1200" dirty="0" smtClean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880922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581248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36" name="think-cell Slide" r:id="rId24" imgW="0" imgH="0" progId="TCLayout.ActiveDocument.1">
                  <p:embed/>
                </p:oleObj>
              </mc:Choice>
              <mc:Fallback>
                <p:oleObj name="think-cell Slide" r:id="rId2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D0900"/>
              </a:buClr>
              <a:defRPr/>
            </a:pPr>
            <a:endParaRPr lang="en-US" sz="14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3" name="Group 2"/>
          <p:cNvGrpSpPr/>
          <p:nvPr>
            <p:custDataLst>
              <p:tags r:id="rId4"/>
            </p:custDataLst>
          </p:nvPr>
        </p:nvGrpSpPr>
        <p:grpSpPr>
          <a:xfrm>
            <a:off x="330200" y="2205038"/>
            <a:ext cx="8448675" cy="3774733"/>
            <a:chOff x="330200" y="2312988"/>
            <a:chExt cx="8448675" cy="3774733"/>
          </a:xfrm>
        </p:grpSpPr>
        <p:pic>
          <p:nvPicPr>
            <p:cNvPr id="3087" name="Picture 3"/>
            <p:cNvPicPr>
              <a:picLocks noChangeAspect="1" noChangeArrowheads="1"/>
            </p:cNvPicPr>
            <p:nvPr>
              <p:custDataLst>
                <p:tags r:id="rId17"/>
              </p:custDataLst>
            </p:nvPr>
          </p:nvPicPr>
          <p:blipFill>
            <a:blip r:embed="rId25" cstate="print"/>
            <a:srcRect/>
            <a:stretch>
              <a:fillRect/>
            </a:stretch>
          </p:blipFill>
          <p:spPr bwMode="auto">
            <a:xfrm>
              <a:off x="330200" y="3787775"/>
              <a:ext cx="2245576" cy="11258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88" name="Picture 2"/>
            <p:cNvPicPr>
              <a:picLocks noChangeAspect="1" noChangeArrowheads="1"/>
            </p:cNvPicPr>
            <p:nvPr>
              <p:custDataLst>
                <p:tags r:id="rId18"/>
              </p:custDataLst>
            </p:nvPr>
          </p:nvPicPr>
          <p:blipFill>
            <a:blip r:embed="rId26" cstate="print"/>
            <a:srcRect/>
            <a:stretch>
              <a:fillRect/>
            </a:stretch>
          </p:blipFill>
          <p:spPr bwMode="auto">
            <a:xfrm>
              <a:off x="7472020" y="3667125"/>
              <a:ext cx="959815" cy="11204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89" name="Rectangle 28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4640610" y="2312988"/>
              <a:ext cx="1792917" cy="3774733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round/>
              <a:headEnd/>
              <a:tailEnd/>
            </a:ln>
          </p:spPr>
          <p:txBody>
            <a:bodyPr lIns="72000" tIns="72000" rIns="72000" bIns="72000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90" name="Oval 26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7142324" y="4999038"/>
              <a:ext cx="1636551" cy="431800"/>
            </a:xfrm>
            <a:prstGeom prst="ellipse">
              <a:avLst/>
            </a:prstGeom>
            <a:solidFill>
              <a:schemeClr val="accent5"/>
            </a:solidFill>
            <a:ln w="12700" algn="ctr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/>
          </p:spPr>
          <p:txBody>
            <a:bodyPr wrap="none" lIns="72009" tIns="72009" rIns="72009" bIns="72009" anchor="ctr" anchorCtr="0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r>
                <a:rPr lang="nl-NL" sz="1600" b="1" dirty="0" smtClean="0"/>
                <a:t>31.2% </a:t>
              </a:r>
              <a:r>
                <a:rPr lang="nl-NL" sz="1600" b="1" dirty="0"/>
                <a:t>EBIT</a:t>
              </a:r>
            </a:p>
          </p:txBody>
        </p:sp>
        <p:sp>
          <p:nvSpPr>
            <p:cNvPr id="84" name="Oval 26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560388" y="4999038"/>
              <a:ext cx="1635125" cy="431800"/>
            </a:xfrm>
            <a:prstGeom prst="ellipse">
              <a:avLst/>
            </a:prstGeom>
            <a:solidFill>
              <a:schemeClr val="accent3"/>
            </a:solidFill>
            <a:ln w="12700" algn="ctr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/>
          </p:spPr>
          <p:txBody>
            <a:bodyPr wrap="none" lIns="72009" tIns="72009" rIns="72009" bIns="72009" anchor="ctr" anchorCtr="0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r>
                <a:rPr lang="nl-NL" sz="1600" b="1" dirty="0" smtClean="0"/>
                <a:t>-0.6% EBIT</a:t>
              </a:r>
              <a:r>
                <a:rPr lang="nl-NL" sz="1600" b="1" baseline="30000" dirty="0" smtClean="0"/>
                <a:t>1</a:t>
              </a:r>
              <a:endParaRPr lang="nl-NL" sz="1600" b="1" baseline="30000" dirty="0"/>
            </a:p>
          </p:txBody>
        </p:sp>
      </p:grpSp>
      <p:sp>
        <p:nvSpPr>
          <p:cNvPr id="3077" name="Rectangle 2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gray">
          <a:xfrm>
            <a:off x="244800" y="804672"/>
            <a:ext cx="8640000" cy="664797"/>
          </a:xfrm>
        </p:spPr>
        <p:txBody>
          <a:bodyPr/>
          <a:lstStyle/>
          <a:p>
            <a:pPr marL="361950"/>
            <a:r>
              <a:rPr lang="cs-CZ" dirty="0" smtClean="0"/>
              <a:t>Známý příklad potvrzuje důležitost správného investování: Méně, ale cíleně, je častokrát více!</a:t>
            </a:r>
          </a:p>
        </p:txBody>
      </p:sp>
      <p:sp>
        <p:nvSpPr>
          <p:cNvPr id="3078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45110" y="6368288"/>
            <a:ext cx="8647370" cy="3683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marL="137160" indent="-137160" defTabSz="912813" eaLnBrk="0" hangingPunct="0">
              <a:lnSpc>
                <a:spcPct val="90000"/>
              </a:lnSpc>
              <a:buFontTx/>
              <a:buAutoNum type="arabicPeriod"/>
            </a:pPr>
            <a:endParaRPr lang="cs-CZ" sz="800" dirty="0" smtClean="0">
              <a:latin typeface="Arial"/>
            </a:endParaRPr>
          </a:p>
          <a:p>
            <a:pPr marL="137160" indent="-137160" defTabSz="912813" eaLnBrk="0" hangingPunct="0">
              <a:lnSpc>
                <a:spcPct val="90000"/>
              </a:lnSpc>
              <a:buFontTx/>
              <a:buAutoNum type="arabicPeriod"/>
            </a:pPr>
            <a:r>
              <a:rPr lang="cs-CZ" sz="800" dirty="0" smtClean="0">
                <a:latin typeface="Arial"/>
              </a:rPr>
              <a:t>Upraveno o ostatní výdaje jako jednorázové náklady na restrukturalizace, výjimečné poškození a </a:t>
            </a:r>
            <a:r>
              <a:rPr lang="cs-CZ" sz="800" dirty="0" smtClean="0">
                <a:latin typeface="Arial"/>
              </a:rPr>
              <a:t>ztráty </a:t>
            </a:r>
            <a:r>
              <a:rPr lang="cs-CZ" sz="800" dirty="0" smtClean="0">
                <a:latin typeface="Arial"/>
              </a:rPr>
              <a:t>a vyčlenění Symbian k Accenture; rovněž ošetřeno o ostatní příjmy jako pozitivní rozhodnutí soudu o kartelizaci </a:t>
            </a:r>
          </a:p>
          <a:p>
            <a:pPr defTabSz="912813" eaLnBrk="0" hangingPunct="0">
              <a:lnSpc>
                <a:spcPct val="90000"/>
              </a:lnSpc>
            </a:pPr>
            <a:r>
              <a:rPr lang="cs-CZ" sz="800" dirty="0" smtClean="0">
                <a:latin typeface="Arial"/>
              </a:rPr>
              <a:t>Zdroj: A.T. Kearney analýza</a:t>
            </a:r>
            <a:endParaRPr lang="cs-CZ" sz="800" dirty="0">
              <a:latin typeface="Arial"/>
            </a:endParaRPr>
          </a:p>
        </p:txBody>
      </p:sp>
      <p:sp>
        <p:nvSpPr>
          <p:cNvPr id="3079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44475" y="1628140"/>
            <a:ext cx="6842760" cy="47089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buClr>
                <a:srgbClr val="7D0900"/>
              </a:buClr>
            </a:pPr>
            <a:r>
              <a:rPr lang="cs-CZ" b="1" dirty="0" smtClean="0">
                <a:latin typeface="Arial"/>
              </a:rPr>
              <a:t>Výdaje na R&amp;D a EBIT společností A a B</a:t>
            </a:r>
          </a:p>
          <a:p>
            <a:pPr>
              <a:lnSpc>
                <a:spcPct val="90000"/>
              </a:lnSpc>
              <a:buClr>
                <a:srgbClr val="7D0900"/>
              </a:buClr>
            </a:pPr>
            <a:r>
              <a:rPr lang="cs-CZ" sz="1600" dirty="0" smtClean="0">
                <a:latin typeface="Arial"/>
              </a:rPr>
              <a:t>(rok 2011, v US$ bn a % tržeb) </a:t>
            </a:r>
            <a:endParaRPr lang="cs-CZ" sz="1600" dirty="0">
              <a:latin typeface="Arial"/>
            </a:endParaRPr>
          </a:p>
        </p:txBody>
      </p:sp>
      <p:graphicFrame>
        <p:nvGraphicFramePr>
          <p:cNvPr id="3075" name="Object 2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27748045"/>
              </p:ext>
            </p:extLst>
          </p:nvPr>
        </p:nvGraphicFramePr>
        <p:xfrm>
          <a:off x="2438399" y="2886075"/>
          <a:ext cx="4181490" cy="2886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37" name="Chart" r:id="rId27" imgW="4181490" imgH="2886075" progId="MSGraph.Chart.8">
                  <p:embed followColorScheme="full"/>
                </p:oleObj>
              </mc:Choice>
              <mc:Fallback>
                <p:oleObj name="Chart" r:id="rId27" imgW="4181490" imgH="2886075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38399" y="2886075"/>
                        <a:ext cx="4181490" cy="28860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81" name="Rectangle 1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953000" y="5762625"/>
            <a:ext cx="1144588" cy="192088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>
              <a:lnSpc>
                <a:spcPct val="90000"/>
              </a:lnSpc>
              <a:buClr>
                <a:srgbClr val="7D0900"/>
              </a:buClr>
            </a:pPr>
            <a:r>
              <a:rPr lang="cs-CZ" sz="1400" b="1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polečnost B</a:t>
            </a:r>
            <a:endParaRPr lang="cs-CZ" sz="14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2" name="Rectangle 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957513" y="5762625"/>
            <a:ext cx="1144588" cy="192088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>
              <a:lnSpc>
                <a:spcPct val="90000"/>
              </a:lnSpc>
              <a:buClr>
                <a:srgbClr val="7D0900"/>
              </a:buClr>
            </a:pPr>
            <a:r>
              <a:rPr lang="cs-CZ" sz="1400" b="1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polečnost A</a:t>
            </a:r>
            <a:endParaRPr lang="cs-CZ" sz="14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4" name="Oval 2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863850" y="2335213"/>
            <a:ext cx="1303338" cy="431800"/>
          </a:xfrm>
          <a:prstGeom prst="ellipse">
            <a:avLst/>
          </a:prstGeom>
          <a:solidFill>
            <a:schemeClr val="accent3"/>
          </a:solidFill>
          <a:ln w="1270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72009" tIns="72009" rIns="72009" bIns="72009" anchor="ctr" anchorCtr="0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cs-CZ" sz="1600" b="1" dirty="0" smtClean="0"/>
              <a:t>14.5%</a:t>
            </a:r>
            <a:endParaRPr lang="cs-CZ" sz="1600" b="1" dirty="0"/>
          </a:p>
        </p:txBody>
      </p:sp>
      <p:sp>
        <p:nvSpPr>
          <p:cNvPr id="3086" name="Oval 2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843463" y="2335213"/>
            <a:ext cx="1303337" cy="431800"/>
          </a:xfrm>
          <a:prstGeom prst="ellipse">
            <a:avLst/>
          </a:prstGeom>
          <a:solidFill>
            <a:schemeClr val="accent5"/>
          </a:solidFill>
          <a:ln w="1270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72009" tIns="72009" rIns="72009" bIns="72009" anchor="ctr" anchorCtr="0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r>
              <a:rPr lang="cs-CZ" sz="1600" b="1" dirty="0" smtClean="0"/>
              <a:t>2.2%</a:t>
            </a:r>
            <a:endParaRPr lang="cs-CZ" sz="1600" b="1" dirty="0"/>
          </a:p>
        </p:txBody>
      </p:sp>
      <p:sp>
        <p:nvSpPr>
          <p:cNvPr id="21" name="Oval 20"/>
          <p:cNvSpPr/>
          <p:nvPr>
            <p:custDataLst>
              <p:tags r:id="rId13"/>
            </p:custDataLst>
          </p:nvPr>
        </p:nvSpPr>
        <p:spPr>
          <a:xfrm>
            <a:off x="246380" y="804672"/>
            <a:ext cx="279400" cy="279400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cs-CZ" sz="1600" b="1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2" name="TextBox 1"/>
          <p:cNvSpPr txBox="1"/>
          <p:nvPr>
            <p:custDataLst>
              <p:tags r:id="rId14"/>
            </p:custDataLst>
          </p:nvPr>
        </p:nvSpPr>
        <p:spPr>
          <a:xfrm>
            <a:off x="7270062" y="1628140"/>
            <a:ext cx="1620766" cy="302968"/>
          </a:xfrm>
          <a:prstGeom prst="rect">
            <a:avLst/>
          </a:prstGeom>
          <a:solidFill>
            <a:schemeClr val="accent2"/>
          </a:solidFill>
          <a:ln w="6350" cap="flat">
            <a:noFill/>
            <a:miter lim="800000"/>
          </a:ln>
        </p:spPr>
        <p:txBody>
          <a:bodyPr vert="horz" wrap="none" lIns="108014" tIns="54007" rIns="108014" bIns="54007" rtlCol="0" anchor="t" anchorCtr="0">
            <a:sp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cs-CZ" sz="1400" dirty="0" smtClean="0">
                <a:solidFill>
                  <a:schemeClr val="accent4"/>
                </a:solidFill>
                <a:latin typeface="Arial"/>
                <a:cs typeface="Arial"/>
              </a:rPr>
              <a:t>Ilustrativní příklad</a:t>
            </a:r>
          </a:p>
        </p:txBody>
      </p:sp>
      <p:sp>
        <p:nvSpPr>
          <p:cNvPr id="23" name="TextBox 22"/>
          <p:cNvSpPr txBox="1"/>
          <p:nvPr>
            <p:custDataLst>
              <p:tags r:id="rId15"/>
            </p:custDataLst>
          </p:nvPr>
        </p:nvSpPr>
        <p:spPr>
          <a:xfrm>
            <a:off x="7621358" y="139700"/>
            <a:ext cx="1271182" cy="1661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200" dirty="0" smtClean="0">
                <a:latin typeface="Arial"/>
              </a:rPr>
              <a:t>Faktor úspěchu </a:t>
            </a:r>
            <a:r>
              <a:rPr lang="en-US" sz="1200" dirty="0" smtClean="0">
                <a:latin typeface="Arial"/>
              </a:rPr>
              <a:t>#</a:t>
            </a:r>
            <a:r>
              <a:rPr lang="cs-CZ" sz="1200" dirty="0" smtClean="0">
                <a:latin typeface="Arial"/>
              </a:rPr>
              <a:t>2</a:t>
            </a:r>
            <a:endParaRPr lang="cs-CZ" sz="1200" dirty="0" smtClean="0">
              <a:latin typeface="Arial"/>
            </a:endParaRPr>
          </a:p>
        </p:txBody>
      </p:sp>
      <p:sp>
        <p:nvSpPr>
          <p:cNvPr id="4" name="TextBox 3"/>
          <p:cNvSpPr txBox="1"/>
          <p:nvPr>
            <p:custDataLst>
              <p:tags r:id="rId16"/>
            </p:custDataLst>
          </p:nvPr>
        </p:nvSpPr>
        <p:spPr>
          <a:xfrm>
            <a:off x="3527884" y="6087721"/>
            <a:ext cx="1995488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cs-CZ" sz="1600" b="1" dirty="0" smtClean="0">
                <a:latin typeface="Arial "/>
              </a:rPr>
              <a:t>Výdaje na R&amp;D</a:t>
            </a:r>
          </a:p>
        </p:txBody>
      </p:sp>
    </p:spTree>
    <p:extLst>
      <p:ext uri="{BB962C8B-B14F-4D97-AF65-F5344CB8AC3E}">
        <p14:creationId xmlns:p14="http://schemas.microsoft.com/office/powerpoint/2010/main" val="3870543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44800" y="1627632"/>
            <a:ext cx="8646287" cy="1661993"/>
          </a:xfrm>
        </p:spPr>
        <p:txBody>
          <a:bodyPr/>
          <a:lstStyle/>
          <a:p>
            <a:r>
              <a:rPr lang="cs-CZ" b="1" dirty="0" smtClean="0">
                <a:solidFill>
                  <a:schemeClr val="bg2"/>
                </a:solidFill>
              </a:rPr>
              <a:t>Faktor úspěchu #3: </a:t>
            </a:r>
            <a:r>
              <a:rPr lang="cs-CZ" dirty="0" smtClean="0"/>
              <a:t>Lídři v inovacích …</a:t>
            </a:r>
            <a:br>
              <a:rPr lang="cs-CZ" dirty="0" smtClean="0"/>
            </a:b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... mají </a:t>
            </a:r>
            <a:r>
              <a:rPr lang="cs-CZ" dirty="0" smtClean="0"/>
              <a:t>lepší procesy a zahrnují </a:t>
            </a:r>
            <a:r>
              <a:rPr lang="cs-CZ" dirty="0" smtClean="0"/>
              <a:t>množství interních a externích účastníků do procesu tvorby myšlenek </a:t>
            </a:r>
            <a:r>
              <a:rPr lang="cs-CZ" dirty="0" smtClean="0"/>
              <a:t>- </a:t>
            </a:r>
            <a:r>
              <a:rPr lang="cs-CZ" dirty="0" smtClean="0"/>
              <a:t>neustále tak podporují vznik nových nápadů</a:t>
            </a:r>
            <a:endParaRPr lang="cs-CZ" dirty="0"/>
          </a:p>
        </p:txBody>
      </p:sp>
      <p:pic>
        <p:nvPicPr>
          <p:cNvPr id="13209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6244" y="486358"/>
            <a:ext cx="1896236" cy="92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77691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AutoShape 13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609303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82" name="think-cell Slide" r:id="rId53" imgW="0" imgH="0" progId="TCLayout.ActiveDocument.1">
                  <p:embed/>
                </p:oleObj>
              </mc:Choice>
              <mc:Fallback>
                <p:oleObj name="think-cell Slide" r:id="rId5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8" name="Rectangle 22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33972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vert="horz" wrap="none" lIns="0" tIns="0" rIns="0" bIns="0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400" b="1" dirty="0" smtClea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219" name="Group 218"/>
          <p:cNvGrpSpPr/>
          <p:nvPr>
            <p:custDataLst>
              <p:tags r:id="rId4"/>
            </p:custDataLst>
          </p:nvPr>
        </p:nvGrpSpPr>
        <p:grpSpPr>
          <a:xfrm>
            <a:off x="2628900" y="2543175"/>
            <a:ext cx="4643400" cy="3657600"/>
            <a:chOff x="1728788" y="2852738"/>
            <a:chExt cx="6875660" cy="3530600"/>
          </a:xfrm>
          <a:solidFill>
            <a:schemeClr val="accent2"/>
          </a:solidFill>
        </p:grpSpPr>
        <p:sp>
          <p:nvSpPr>
            <p:cNvPr id="1074" name="Rectangle 1073"/>
            <p:cNvSpPr/>
            <p:nvPr>
              <p:custDataLst>
                <p:tags r:id="rId46"/>
              </p:custDataLst>
            </p:nvPr>
          </p:nvSpPr>
          <p:spPr bwMode="auto">
            <a:xfrm>
              <a:off x="1728788" y="2852738"/>
              <a:ext cx="6875660" cy="306388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>
              <a:noAutofit/>
            </a:bodyPr>
            <a:lstStyle/>
            <a:p>
              <a:pPr>
                <a:buClr>
                  <a:srgbClr val="7D0900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1" name="Rectangle 210"/>
            <p:cNvSpPr/>
            <p:nvPr>
              <p:custDataLst>
                <p:tags r:id="rId47"/>
              </p:custDataLst>
            </p:nvPr>
          </p:nvSpPr>
          <p:spPr bwMode="auto">
            <a:xfrm>
              <a:off x="1728788" y="3497263"/>
              <a:ext cx="6875660" cy="306388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>
              <a:noAutofit/>
            </a:bodyPr>
            <a:lstStyle/>
            <a:p>
              <a:pPr>
                <a:buClr>
                  <a:srgbClr val="7D0900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2" name="Rectangle 211"/>
            <p:cNvSpPr/>
            <p:nvPr>
              <p:custDataLst>
                <p:tags r:id="rId48"/>
              </p:custDataLst>
            </p:nvPr>
          </p:nvSpPr>
          <p:spPr bwMode="auto">
            <a:xfrm>
              <a:off x="1728788" y="4141788"/>
              <a:ext cx="6875660" cy="306388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>
              <a:noAutofit/>
            </a:bodyPr>
            <a:lstStyle/>
            <a:p>
              <a:pPr>
                <a:buClr>
                  <a:srgbClr val="7D0900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3" name="Rectangle 212"/>
            <p:cNvSpPr/>
            <p:nvPr>
              <p:custDataLst>
                <p:tags r:id="rId49"/>
              </p:custDataLst>
            </p:nvPr>
          </p:nvSpPr>
          <p:spPr bwMode="auto">
            <a:xfrm>
              <a:off x="1728788" y="4787900"/>
              <a:ext cx="6875660" cy="30480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>
              <a:noAutofit/>
            </a:bodyPr>
            <a:lstStyle/>
            <a:p>
              <a:pPr>
                <a:buClr>
                  <a:srgbClr val="7D0900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4" name="Rectangle 213"/>
            <p:cNvSpPr/>
            <p:nvPr>
              <p:custDataLst>
                <p:tags r:id="rId50"/>
              </p:custDataLst>
            </p:nvPr>
          </p:nvSpPr>
          <p:spPr bwMode="auto">
            <a:xfrm>
              <a:off x="1728788" y="5432425"/>
              <a:ext cx="6875660" cy="30480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>
              <a:noAutofit/>
            </a:bodyPr>
            <a:lstStyle/>
            <a:p>
              <a:pPr>
                <a:buClr>
                  <a:srgbClr val="7D0900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5" name="Rectangle 214"/>
            <p:cNvSpPr/>
            <p:nvPr>
              <p:custDataLst>
                <p:tags r:id="rId51"/>
              </p:custDataLst>
            </p:nvPr>
          </p:nvSpPr>
          <p:spPr bwMode="auto">
            <a:xfrm>
              <a:off x="1728788" y="6076950"/>
              <a:ext cx="6875660" cy="306388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>
              <a:noAutofit/>
            </a:bodyPr>
            <a:lstStyle/>
            <a:p>
              <a:pPr>
                <a:buClr>
                  <a:srgbClr val="7D0900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8195" name="Object 132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68264821"/>
              </p:ext>
            </p:extLst>
          </p:nvPr>
        </p:nvGraphicFramePr>
        <p:xfrm>
          <a:off x="2279650" y="2027238"/>
          <a:ext cx="5324400" cy="4286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83" name="Chart" r:id="rId54" imgW="5324400" imgH="4286250" progId="MSGraph.Chart.8">
                  <p:embed followColorScheme="full"/>
                </p:oleObj>
              </mc:Choice>
              <mc:Fallback>
                <p:oleObj name="Chart" r:id="rId54" imgW="5324400" imgH="428625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79650" y="2027238"/>
                        <a:ext cx="5324400" cy="4286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" name="Rectangle 167"/>
          <p:cNvSpPr/>
          <p:nvPr>
            <p:custDataLst>
              <p:tags r:id="rId6"/>
            </p:custDataLst>
          </p:nvPr>
        </p:nvSpPr>
        <p:spPr bwMode="auto">
          <a:xfrm>
            <a:off x="1862138" y="5592763"/>
            <a:ext cx="630238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</a:pPr>
            <a:fld id="{568C50A5-FCDD-4FA4-AE26-92EFA4798034}" type="datetime'''Al''''''''''''''i''''''''a''n''''''''''''''''ce'''''''''''">
              <a:rPr lang="cs-CZ" sz="1400" b="1" smtClean="0">
                <a:cs typeface="Arial"/>
              </a:rPr>
              <a:pPr/>
              <a:t>Aliance</a:t>
            </a:fld>
            <a:endParaRPr kumimoji="0" lang="cs-CZ" sz="14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080" name="Rectangle 1079"/>
          <p:cNvSpPr/>
          <p:nvPr>
            <p:custDataLst>
              <p:tags r:id="rId7"/>
            </p:custDataLst>
          </p:nvPr>
        </p:nvSpPr>
        <p:spPr bwMode="auto">
          <a:xfrm>
            <a:off x="906463" y="5270500"/>
            <a:ext cx="1585913" cy="192088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B3D02F1-A91B-49B0-BA6C-EE0619ECC9F3}" type="datetime'R''e''''''kla''''m''''ní'' age''n''''''''tur''''''y'''">
              <a:rPr lang="cs-CZ" sz="1400" b="1" smtClean="0">
                <a:solidFill>
                  <a:schemeClr val="tx1"/>
                </a:solidFill>
                <a:cs typeface="Arial"/>
              </a:rPr>
              <a:pPr/>
              <a:t>Reklamní agentury</a:t>
            </a:fld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6" name="Rectangle 165"/>
          <p:cNvSpPr/>
          <p:nvPr>
            <p:custDataLst>
              <p:tags r:id="rId8"/>
            </p:custDataLst>
          </p:nvPr>
        </p:nvSpPr>
        <p:spPr bwMode="auto">
          <a:xfrm>
            <a:off x="1536700" y="4926013"/>
            <a:ext cx="955675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</a:pPr>
            <a:fld id="{E24692B3-DDE9-4678-89F2-194A6B54599B}" type="datetime'Di''''''''st''ri''''bu''''t''oři'''''''''''''''''">
              <a:rPr lang="cs-CZ" sz="1400" b="1" smtClean="0">
                <a:cs typeface="Arial"/>
              </a:rPr>
              <a:pPr/>
              <a:t>Distributoři</a:t>
            </a:fld>
            <a:endParaRPr kumimoji="0" lang="cs-CZ" sz="14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65" name="Rectangle 164"/>
          <p:cNvSpPr/>
          <p:nvPr>
            <p:custDataLst>
              <p:tags r:id="rId9"/>
            </p:custDataLst>
          </p:nvPr>
        </p:nvSpPr>
        <p:spPr bwMode="auto">
          <a:xfrm>
            <a:off x="1528763" y="4592638"/>
            <a:ext cx="963613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</a:pPr>
            <a:fld id="{D2326D80-C301-4216-A833-E8D5C94A4B8E}" type="datetime'K''''o''''n''z''''''''u''''l''ta''''''n''''ti'''''''">
              <a:rPr lang="cs-CZ" sz="1400" b="1" smtClean="0">
                <a:cs typeface="Arial"/>
              </a:rPr>
              <a:pPr/>
              <a:t>Konzultanti</a:t>
            </a:fld>
            <a:endParaRPr kumimoji="0" lang="cs-CZ" sz="14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64" name="Rectangle 163"/>
          <p:cNvSpPr/>
          <p:nvPr>
            <p:custDataLst>
              <p:tags r:id="rId10"/>
            </p:custDataLst>
          </p:nvPr>
        </p:nvSpPr>
        <p:spPr bwMode="auto">
          <a:xfrm>
            <a:off x="1122363" y="4264025"/>
            <a:ext cx="1370013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</a:pPr>
            <a:fld id="{FAD3A720-9F14-4C4A-A9DB-7F9CB4D58F8C}" type="datetime'''V''ý''''''zk''''''um''''n''''''íc''''i'''''' trh''''u'''''">
              <a:rPr lang="cs-CZ" sz="1400" b="1" smtClean="0">
                <a:cs typeface="Arial"/>
              </a:rPr>
              <a:pPr/>
              <a:t>Výzkumníci trhu</a:t>
            </a:fld>
            <a:endParaRPr kumimoji="0" lang="cs-CZ" sz="14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63" name="Rectangle 162"/>
          <p:cNvSpPr/>
          <p:nvPr>
            <p:custDataLst>
              <p:tags r:id="rId11"/>
            </p:custDataLst>
          </p:nvPr>
        </p:nvSpPr>
        <p:spPr bwMode="auto">
          <a:xfrm>
            <a:off x="1644650" y="3935413"/>
            <a:ext cx="847725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</a:pPr>
            <a:fld id="{73F3FE30-09F2-4B7E-813E-18E89AF7670B}" type="datetime'''''''U''''''ni''''v''e''rzi''''t''''''''''''y'''''''''''''">
              <a:rPr lang="cs-CZ" sz="1400" b="1" smtClean="0">
                <a:cs typeface="Arial"/>
              </a:rPr>
              <a:pPr/>
              <a:t>Univerzity</a:t>
            </a:fld>
            <a:endParaRPr kumimoji="0" lang="cs-CZ" sz="14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62" name="Rectangle 161"/>
          <p:cNvSpPr/>
          <p:nvPr>
            <p:custDataLst>
              <p:tags r:id="rId12"/>
            </p:custDataLst>
          </p:nvPr>
        </p:nvSpPr>
        <p:spPr bwMode="auto">
          <a:xfrm>
            <a:off x="1468438" y="3602038"/>
            <a:ext cx="1023938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</a:pPr>
            <a:fld id="{BCA7A537-E131-4C05-97AE-B49191DAF57A}" type="datetime'Ko''''''''''''''nku''''''''r''''e''''n''c''''''''''e'''">
              <a:rPr lang="cs-CZ" sz="1400" b="1" smtClean="0">
                <a:cs typeface="Arial"/>
              </a:rPr>
              <a:pPr/>
              <a:t>Konkurence</a:t>
            </a:fld>
            <a:endParaRPr kumimoji="0" lang="cs-CZ" sz="14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61" name="Rectangle 160"/>
          <p:cNvSpPr/>
          <p:nvPr>
            <p:custDataLst>
              <p:tags r:id="rId13"/>
            </p:custDataLst>
          </p:nvPr>
        </p:nvSpPr>
        <p:spPr bwMode="auto">
          <a:xfrm>
            <a:off x="1547813" y="3268663"/>
            <a:ext cx="944563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</a:pPr>
            <a:fld id="{39BDAAE1-FA7F-423A-9F75-28A53D6D1585}" type="datetime'D''''''''o''d''''a''''''''v''''at''''''''''e''''''''lé'">
              <a:rPr lang="cs-CZ" sz="1400" b="1" smtClean="0">
                <a:cs typeface="Arial"/>
              </a:rPr>
              <a:pPr/>
              <a:t>Dodavatelé</a:t>
            </a:fld>
            <a:endParaRPr kumimoji="0" lang="cs-CZ" sz="14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60" name="Rectangle 159"/>
          <p:cNvSpPr/>
          <p:nvPr>
            <p:custDataLst>
              <p:tags r:id="rId14"/>
            </p:custDataLst>
          </p:nvPr>
        </p:nvSpPr>
        <p:spPr bwMode="auto">
          <a:xfrm>
            <a:off x="741363" y="2935288"/>
            <a:ext cx="1751013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</a:pPr>
            <a:fld id="{7C0EB480-1A29-4254-8B8E-D4CAEC28C8CE}" type="datetime'Kon''coví'''''' ''''''s''p''otře''bitel''''''''''é'''''''''">
              <a:rPr lang="cs-CZ" sz="1400" b="1" smtClean="0">
                <a:cs typeface="Arial"/>
              </a:rPr>
              <a:pPr/>
              <a:t>Koncoví spotřebitelé</a:t>
            </a:fld>
            <a:endParaRPr kumimoji="0" lang="cs-CZ" sz="14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087" name="Rectangle 1086"/>
          <p:cNvSpPr/>
          <p:nvPr>
            <p:custDataLst>
              <p:tags r:id="rId15"/>
            </p:custDataLst>
          </p:nvPr>
        </p:nvSpPr>
        <p:spPr bwMode="auto">
          <a:xfrm>
            <a:off x="1695450" y="2601913"/>
            <a:ext cx="796925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</a:pPr>
            <a:fld id="{DA23C1AB-4DE5-44FC-AB91-BEAA24131FD4}" type="datetime'''''Záka''''''z''''''''''''''ní''''''''''''c''''''''i'''''">
              <a:rPr lang="cs-CZ" sz="1400" b="1" smtClean="0">
                <a:cs typeface="Arial"/>
              </a:rPr>
              <a:pPr/>
              <a:t>Zákazníci</a:t>
            </a:fld>
            <a:endParaRPr kumimoji="0" lang="cs-CZ" sz="14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69" name="Rectangle 168"/>
          <p:cNvSpPr/>
          <p:nvPr>
            <p:custDataLst>
              <p:tags r:id="rId16"/>
            </p:custDataLst>
          </p:nvPr>
        </p:nvSpPr>
        <p:spPr bwMode="auto">
          <a:xfrm>
            <a:off x="1852613" y="5926138"/>
            <a:ext cx="639763" cy="2127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</a:pPr>
            <a:fld id="{02183456-30D3-45DE-BB5F-CC22068149CD}" type="datetime'''''Pa''''''''''''t''e''''n''''t''''''''''''y'''''''''">
              <a:rPr lang="cs-CZ" sz="1400" b="1" smtClean="0">
                <a:cs typeface="Arial"/>
              </a:rPr>
              <a:pPr/>
              <a:t>Patenty</a:t>
            </a:fld>
            <a:endParaRPr kumimoji="0" lang="cs-CZ" sz="14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cxnSp>
        <p:nvCxnSpPr>
          <p:cNvPr id="3" name="Straight Connector 2"/>
          <p:cNvCxnSpPr/>
          <p:nvPr>
            <p:custDataLst>
              <p:tags r:id="rId17"/>
            </p:custDataLst>
          </p:nvPr>
        </p:nvCxnSpPr>
        <p:spPr bwMode="gray">
          <a:xfrm>
            <a:off x="4479925" y="5341938"/>
            <a:ext cx="2762250" cy="333375"/>
          </a:xfrm>
          <a:prstGeom prst="line">
            <a:avLst/>
          </a:prstGeom>
          <a:ln w="19050" cap="flat">
            <a:solidFill>
              <a:srgbClr val="9B1717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18"/>
            </p:custDataLst>
          </p:nvPr>
        </p:nvCxnSpPr>
        <p:spPr bwMode="gray">
          <a:xfrm flipH="1" flipV="1">
            <a:off x="5861050" y="3736975"/>
            <a:ext cx="685800" cy="333375"/>
          </a:xfrm>
          <a:prstGeom prst="line">
            <a:avLst/>
          </a:prstGeom>
          <a:ln w="19050" cap="flat">
            <a:solidFill>
              <a:srgbClr val="77824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19"/>
            </p:custDataLst>
          </p:nvPr>
        </p:nvCxnSpPr>
        <p:spPr bwMode="gray">
          <a:xfrm flipV="1">
            <a:off x="5861050" y="5727700"/>
            <a:ext cx="457200" cy="309563"/>
          </a:xfrm>
          <a:prstGeom prst="line">
            <a:avLst/>
          </a:prstGeom>
          <a:ln w="19050" cap="flat">
            <a:solidFill>
              <a:srgbClr val="77824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20"/>
            </p:custDataLst>
          </p:nvPr>
        </p:nvCxnSpPr>
        <p:spPr bwMode="gray">
          <a:xfrm flipV="1">
            <a:off x="5632450" y="4394200"/>
            <a:ext cx="914400" cy="333375"/>
          </a:xfrm>
          <a:prstGeom prst="line">
            <a:avLst/>
          </a:prstGeom>
          <a:ln w="19050" cap="flat">
            <a:solidFill>
              <a:srgbClr val="77824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21"/>
            </p:custDataLst>
          </p:nvPr>
        </p:nvCxnSpPr>
        <p:spPr bwMode="gray">
          <a:xfrm flipV="1">
            <a:off x="5394325" y="4727575"/>
            <a:ext cx="238125" cy="333375"/>
          </a:xfrm>
          <a:prstGeom prst="line">
            <a:avLst/>
          </a:prstGeom>
          <a:ln w="19050" cap="flat">
            <a:solidFill>
              <a:srgbClr val="77824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22"/>
            </p:custDataLst>
          </p:nvPr>
        </p:nvCxnSpPr>
        <p:spPr bwMode="gray">
          <a:xfrm flipH="1">
            <a:off x="5861050" y="4675188"/>
            <a:ext cx="923925" cy="333375"/>
          </a:xfrm>
          <a:prstGeom prst="line">
            <a:avLst/>
          </a:prstGeom>
          <a:ln w="19050" cap="flat">
            <a:solidFill>
              <a:srgbClr val="9B1717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23"/>
            </p:custDataLst>
          </p:nvPr>
        </p:nvCxnSpPr>
        <p:spPr bwMode="gray">
          <a:xfrm flipV="1">
            <a:off x="6546850" y="4070350"/>
            <a:ext cx="0" cy="323850"/>
          </a:xfrm>
          <a:prstGeom prst="line">
            <a:avLst/>
          </a:prstGeom>
          <a:ln w="19050" cap="flat">
            <a:solidFill>
              <a:srgbClr val="77824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24"/>
            </p:custDataLst>
          </p:nvPr>
        </p:nvCxnSpPr>
        <p:spPr bwMode="gray">
          <a:xfrm flipH="1">
            <a:off x="6784975" y="4346575"/>
            <a:ext cx="457200" cy="328613"/>
          </a:xfrm>
          <a:prstGeom prst="line">
            <a:avLst/>
          </a:prstGeom>
          <a:ln w="19050" cap="flat">
            <a:solidFill>
              <a:srgbClr val="9B1717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25"/>
            </p:custDataLst>
          </p:nvPr>
        </p:nvCxnSpPr>
        <p:spPr bwMode="gray">
          <a:xfrm flipH="1">
            <a:off x="4479925" y="5008563"/>
            <a:ext cx="1381125" cy="333375"/>
          </a:xfrm>
          <a:prstGeom prst="line">
            <a:avLst/>
          </a:prstGeom>
          <a:ln w="19050" cap="flat">
            <a:solidFill>
              <a:srgbClr val="9B1717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26"/>
            </p:custDataLst>
          </p:nvPr>
        </p:nvCxnSpPr>
        <p:spPr bwMode="gray">
          <a:xfrm flipV="1">
            <a:off x="4241800" y="2713038"/>
            <a:ext cx="2543175" cy="357188"/>
          </a:xfrm>
          <a:prstGeom prst="line">
            <a:avLst/>
          </a:prstGeom>
          <a:ln w="19050" cap="flat">
            <a:solidFill>
              <a:srgbClr val="77824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27"/>
            </p:custDataLst>
          </p:nvPr>
        </p:nvCxnSpPr>
        <p:spPr bwMode="gray">
          <a:xfrm flipV="1">
            <a:off x="3556000" y="5060950"/>
            <a:ext cx="1838325" cy="333375"/>
          </a:xfrm>
          <a:prstGeom prst="line">
            <a:avLst/>
          </a:prstGeom>
          <a:ln w="19050" cap="flat">
            <a:solidFill>
              <a:srgbClr val="77824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28"/>
            </p:custDataLst>
          </p:nvPr>
        </p:nvCxnSpPr>
        <p:spPr bwMode="gray">
          <a:xfrm flipH="1" flipV="1">
            <a:off x="4241800" y="3070225"/>
            <a:ext cx="1847850" cy="333375"/>
          </a:xfrm>
          <a:prstGeom prst="line">
            <a:avLst/>
          </a:prstGeom>
          <a:ln w="19050" cap="flat">
            <a:solidFill>
              <a:srgbClr val="77824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29"/>
            </p:custDataLst>
          </p:nvPr>
        </p:nvCxnSpPr>
        <p:spPr bwMode="gray">
          <a:xfrm flipH="1" flipV="1">
            <a:off x="3556000" y="5394325"/>
            <a:ext cx="2762250" cy="333375"/>
          </a:xfrm>
          <a:prstGeom prst="line">
            <a:avLst/>
          </a:prstGeom>
          <a:ln w="19050" cap="flat">
            <a:solidFill>
              <a:srgbClr val="77824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30"/>
            </p:custDataLst>
          </p:nvPr>
        </p:nvCxnSpPr>
        <p:spPr bwMode="gray">
          <a:xfrm flipH="1">
            <a:off x="5632450" y="2684463"/>
            <a:ext cx="1609725" cy="333375"/>
          </a:xfrm>
          <a:prstGeom prst="line">
            <a:avLst/>
          </a:prstGeom>
          <a:ln w="19050" cap="flat">
            <a:solidFill>
              <a:srgbClr val="9B1717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31"/>
            </p:custDataLst>
          </p:nvPr>
        </p:nvCxnSpPr>
        <p:spPr bwMode="gray">
          <a:xfrm>
            <a:off x="7242175" y="5675312"/>
            <a:ext cx="0" cy="361950"/>
          </a:xfrm>
          <a:prstGeom prst="line">
            <a:avLst/>
          </a:prstGeom>
          <a:ln w="19050" cap="flat">
            <a:solidFill>
              <a:srgbClr val="9B1717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32"/>
            </p:custDataLst>
          </p:nvPr>
        </p:nvCxnSpPr>
        <p:spPr bwMode="gray">
          <a:xfrm flipV="1">
            <a:off x="5861050" y="3403600"/>
            <a:ext cx="228600" cy="333375"/>
          </a:xfrm>
          <a:prstGeom prst="line">
            <a:avLst/>
          </a:prstGeom>
          <a:ln w="19050" cap="flat">
            <a:solidFill>
              <a:srgbClr val="77824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33"/>
            </p:custDataLst>
          </p:nvPr>
        </p:nvCxnSpPr>
        <p:spPr bwMode="gray">
          <a:xfrm>
            <a:off x="5632450" y="3017838"/>
            <a:ext cx="1609725" cy="333375"/>
          </a:xfrm>
          <a:prstGeom prst="line">
            <a:avLst/>
          </a:prstGeom>
          <a:ln w="19050" cap="flat">
            <a:solidFill>
              <a:srgbClr val="9B1717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34"/>
            </p:custDataLst>
          </p:nvPr>
        </p:nvCxnSpPr>
        <p:spPr bwMode="gray">
          <a:xfrm flipH="1">
            <a:off x="6318250" y="3351213"/>
            <a:ext cx="923925" cy="333375"/>
          </a:xfrm>
          <a:prstGeom prst="line">
            <a:avLst/>
          </a:prstGeom>
          <a:ln w="19050" cap="flat">
            <a:solidFill>
              <a:srgbClr val="9B1717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35"/>
            </p:custDataLst>
          </p:nvPr>
        </p:nvCxnSpPr>
        <p:spPr bwMode="gray">
          <a:xfrm>
            <a:off x="6318250" y="3684588"/>
            <a:ext cx="923925" cy="333375"/>
          </a:xfrm>
          <a:prstGeom prst="line">
            <a:avLst/>
          </a:prstGeom>
          <a:ln w="19050" cap="flat">
            <a:solidFill>
              <a:srgbClr val="9B1717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36"/>
            </p:custDataLst>
          </p:nvPr>
        </p:nvCxnSpPr>
        <p:spPr bwMode="gray">
          <a:xfrm>
            <a:off x="7242175" y="4017963"/>
            <a:ext cx="0" cy="328613"/>
          </a:xfrm>
          <a:prstGeom prst="line">
            <a:avLst/>
          </a:prstGeom>
          <a:ln w="19050" cap="flat">
            <a:solidFill>
              <a:srgbClr val="9B1717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42" name="Text Box 11"/>
          <p:cNvSpPr txBox="1"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244475" y="1628140"/>
            <a:ext cx="6842760" cy="470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cs-CZ" sz="1800" b="1" dirty="0" smtClean="0">
                <a:latin typeface="Arial"/>
              </a:rPr>
              <a:t>Externí spolupráce ve fázi tvorby a výběru nápadů </a:t>
            </a:r>
            <a:br>
              <a:rPr lang="cs-CZ" sz="1800" b="1" dirty="0" smtClean="0">
                <a:latin typeface="Arial"/>
              </a:rPr>
            </a:br>
            <a:r>
              <a:rPr lang="cs-CZ" sz="1600" dirty="0" smtClean="0">
                <a:latin typeface="Arial"/>
              </a:rPr>
              <a:t>(% účastníků)</a:t>
            </a:r>
          </a:p>
        </p:txBody>
      </p:sp>
      <p:sp>
        <p:nvSpPr>
          <p:cNvPr id="8246" name="Rectangle 84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2123728" y="6315076"/>
            <a:ext cx="14525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ClrTx/>
            </a:pPr>
            <a:r>
              <a:rPr lang="cs-CZ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rPr>
              <a:t>Průměr účastníků</a:t>
            </a:r>
          </a:p>
        </p:txBody>
      </p:sp>
      <p:sp>
        <p:nvSpPr>
          <p:cNvPr id="8247" name="Rectangle 85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467544" y="6315076"/>
            <a:ext cx="20478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ClrTx/>
            </a:pPr>
            <a:r>
              <a:rPr lang="cs-CZ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rPr>
              <a:t>Vítězové Best Innovator</a:t>
            </a:r>
          </a:p>
        </p:txBody>
      </p:sp>
      <p:cxnSp>
        <p:nvCxnSpPr>
          <p:cNvPr id="8296" name="Straight Connector 1075"/>
          <p:cNvCxnSpPr>
            <a:cxnSpLocks noChangeShapeType="1"/>
          </p:cNvCxnSpPr>
          <p:nvPr>
            <p:custDataLst>
              <p:tags r:id="rId40"/>
            </p:custDataLst>
          </p:nvPr>
        </p:nvCxnSpPr>
        <p:spPr bwMode="auto">
          <a:xfrm>
            <a:off x="237356" y="6395258"/>
            <a:ext cx="150813" cy="0"/>
          </a:xfrm>
          <a:prstGeom prst="line">
            <a:avLst/>
          </a:prstGeom>
          <a:noFill/>
          <a:ln w="19050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297" name="Straight Connector 217"/>
          <p:cNvCxnSpPr>
            <a:cxnSpLocks noChangeShapeType="1"/>
          </p:cNvCxnSpPr>
          <p:nvPr>
            <p:custDataLst>
              <p:tags r:id="rId41"/>
            </p:custDataLst>
          </p:nvPr>
        </p:nvCxnSpPr>
        <p:spPr bwMode="auto">
          <a:xfrm>
            <a:off x="1917428" y="6395258"/>
            <a:ext cx="152400" cy="0"/>
          </a:xfrm>
          <a:prstGeom prst="line">
            <a:avLst/>
          </a:prstGeom>
          <a:noFill/>
          <a:ln w="12700" algn="ctr">
            <a:solidFill>
              <a:schemeClr val="tx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79" name="Title 1078"/>
          <p:cNvSpPr>
            <a:spLocks noGrp="1"/>
          </p:cNvSpPr>
          <p:nvPr>
            <p:ph type="title"/>
            <p:custDataLst>
              <p:tags r:id="rId42"/>
            </p:custDataLst>
          </p:nvPr>
        </p:nvSpPr>
        <p:spPr>
          <a:xfrm>
            <a:off x="244800" y="804672"/>
            <a:ext cx="8640000" cy="664797"/>
          </a:xfrm>
        </p:spPr>
        <p:txBody>
          <a:bodyPr/>
          <a:lstStyle/>
          <a:p>
            <a:pPr marL="358775"/>
            <a:r>
              <a:rPr lang="cs-CZ" dirty="0" smtClean="0"/>
              <a:t>Vítězové Best </a:t>
            </a:r>
            <a:r>
              <a:rPr lang="cs-CZ" dirty="0" err="1" smtClean="0"/>
              <a:t>Innovator</a:t>
            </a:r>
            <a:r>
              <a:rPr lang="cs-CZ" dirty="0" smtClean="0"/>
              <a:t> využívají sítě expertů a zdrojů mimo vlastní organizaci při generování a výběru nových nápadů</a:t>
            </a:r>
            <a:endParaRPr lang="cs-CZ" dirty="0"/>
          </a:p>
        </p:txBody>
      </p:sp>
      <p:pic>
        <p:nvPicPr>
          <p:cNvPr id="253" name="Picture 5" descr="Best Innovator klein"/>
          <p:cNvPicPr>
            <a:picLocks noChangeAspect="1" noChangeArrowheads="1"/>
          </p:cNvPicPr>
          <p:nvPr>
            <p:custDataLst>
              <p:tags r:id="rId43"/>
            </p:custDataLst>
          </p:nvPr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458522" y="1444625"/>
            <a:ext cx="36195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4" name="Rectangle 253"/>
          <p:cNvSpPr/>
          <p:nvPr>
            <p:custDataLst>
              <p:tags r:id="rId44"/>
            </p:custDataLst>
          </p:nvPr>
        </p:nvSpPr>
        <p:spPr bwMode="gray">
          <a:xfrm>
            <a:off x="245110" y="6552438"/>
            <a:ext cx="6400800" cy="184150"/>
          </a:xfrm>
          <a:prstGeom prst="rect">
            <a:avLst/>
          </a:prstGeom>
          <a:noFill/>
          <a:ln w="6350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rnd" cmpd="sng" algn="ctr">
                <a:solidFill>
                  <a:srgbClr val="ADABA1"/>
                </a:solidFill>
                <a:prstDash val="solid"/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b" anchorCtr="0">
            <a:noAutofit/>
          </a:bodyPr>
          <a:lstStyle/>
          <a:p>
            <a:pPr marL="137160" indent="-137160">
              <a:lnSpc>
                <a:spcPct val="90000"/>
              </a:lnSpc>
              <a:defRPr/>
            </a:pPr>
            <a:endParaRPr lang="cs-CZ" sz="8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37160" indent="-137160">
              <a:lnSpc>
                <a:spcPct val="90000"/>
              </a:lnSpc>
              <a:defRPr/>
            </a:pPr>
            <a:endParaRPr lang="cs-CZ" sz="8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37160" indent="-137160">
              <a:lnSpc>
                <a:spcPct val="90000"/>
              </a:lnSpc>
              <a:defRPr/>
            </a:pPr>
            <a:r>
              <a:rPr lang="cs-CZ" sz="800" dirty="0" smtClean="0">
                <a:solidFill>
                  <a:schemeClr val="tx1"/>
                </a:solidFill>
                <a:latin typeface="Arial"/>
                <a:cs typeface="Arial" pitchFamily="34" charset="0"/>
              </a:rPr>
              <a:t>Zdroj: A.T. Kearney Best Innovator 2012</a:t>
            </a:r>
            <a:endParaRPr lang="cs-CZ" sz="800" dirty="0">
              <a:solidFill>
                <a:schemeClr val="tx1"/>
              </a:solidFill>
              <a:latin typeface="Arial"/>
              <a:cs typeface="Arial" pitchFamily="34" charset="0"/>
            </a:endParaRPr>
          </a:p>
        </p:txBody>
      </p:sp>
      <p:sp>
        <p:nvSpPr>
          <p:cNvPr id="274" name="Oval 273"/>
          <p:cNvSpPr/>
          <p:nvPr>
            <p:custDataLst>
              <p:tags r:id="rId45"/>
            </p:custDataLst>
          </p:nvPr>
        </p:nvSpPr>
        <p:spPr>
          <a:xfrm>
            <a:off x="246380" y="804672"/>
            <a:ext cx="279400" cy="279400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cs-CZ" sz="1600" b="1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7621358" y="139700"/>
            <a:ext cx="1271182" cy="1661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200" dirty="0" smtClean="0">
                <a:latin typeface="Arial"/>
              </a:rPr>
              <a:t>Faktor úspěchu </a:t>
            </a:r>
            <a:r>
              <a:rPr lang="en-US" sz="1200" dirty="0" smtClean="0">
                <a:latin typeface="Arial"/>
              </a:rPr>
              <a:t>#</a:t>
            </a:r>
            <a:r>
              <a:rPr lang="cs-CZ" sz="1200" dirty="0" smtClean="0">
                <a:latin typeface="Arial"/>
              </a:rPr>
              <a:t>3</a:t>
            </a:r>
            <a:endParaRPr lang="cs-CZ" sz="1200" dirty="0" smtClean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25377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2613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4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Rectangle 5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244475" y="1628140"/>
            <a:ext cx="684276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cs-CZ" b="1" dirty="0" smtClean="0">
                <a:latin typeface="Arial"/>
                <a:cs typeface="Arial"/>
              </a:rPr>
              <a:t>Aplikace </a:t>
            </a:r>
            <a:r>
              <a:rPr lang="cs-CZ" b="1" dirty="0" smtClean="0">
                <a:latin typeface="Arial"/>
                <a:cs typeface="Arial"/>
              </a:rPr>
              <a:t>principu otevřených </a:t>
            </a:r>
            <a:r>
              <a:rPr lang="cs-CZ" b="1" dirty="0" smtClean="0">
                <a:latin typeface="Arial"/>
                <a:cs typeface="Arial"/>
              </a:rPr>
              <a:t>inovací</a:t>
            </a:r>
          </a:p>
        </p:txBody>
      </p:sp>
      <p:sp>
        <p:nvSpPr>
          <p:cNvPr id="10" name="Rectangle 9"/>
          <p:cNvSpPr/>
          <p:nvPr>
            <p:custDataLst>
              <p:tags r:id="rId5"/>
            </p:custDataLst>
          </p:nvPr>
        </p:nvSpPr>
        <p:spPr bwMode="gray">
          <a:xfrm>
            <a:off x="245110" y="6368288"/>
            <a:ext cx="6400800" cy="368300"/>
          </a:xfrm>
          <a:prstGeom prst="rect">
            <a:avLst/>
          </a:prstGeom>
          <a:noFill/>
          <a:ln w="12700" cap="rnd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b" anchorCtr="0">
            <a:noAutofit/>
          </a:bodyPr>
          <a:lstStyle/>
          <a:p>
            <a:pPr marL="137160" indent="-137160">
              <a:lnSpc>
                <a:spcPct val="90000"/>
              </a:lnSpc>
              <a:buFontTx/>
              <a:buAutoNum type="arabicPeriod"/>
              <a:defRPr/>
            </a:pPr>
            <a:endParaRPr lang="cs-CZ" sz="8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37160" indent="-137160">
              <a:lnSpc>
                <a:spcPct val="90000"/>
              </a:lnSpc>
              <a:buFontTx/>
              <a:buAutoNum type="arabicPeriod"/>
              <a:defRPr/>
            </a:pPr>
            <a:endParaRPr lang="cs-CZ" sz="8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37160" indent="-137160">
              <a:lnSpc>
                <a:spcPct val="90000"/>
              </a:lnSpc>
              <a:defRPr/>
            </a:pPr>
            <a:r>
              <a:rPr lang="cs-CZ" sz="800" dirty="0" smtClean="0">
                <a:solidFill>
                  <a:schemeClr val="tx1"/>
                </a:solidFill>
                <a:cs typeface="Arial" pitchFamily="34" charset="0"/>
              </a:rPr>
              <a:t>Zdroj: A.T. Kearney</a:t>
            </a:r>
            <a:endParaRPr lang="cs-CZ" sz="8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4" name="Rectangle 2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703676" y="1628140"/>
            <a:ext cx="2188229" cy="302968"/>
          </a:xfrm>
          <a:prstGeom prst="rect">
            <a:avLst/>
          </a:prstGeom>
          <a:solidFill>
            <a:schemeClr val="accent2"/>
          </a:solidFill>
          <a:ln w="6350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8014" tIns="54007" rIns="108014" bIns="54007" anchor="t" anchorCtr="0">
            <a:spAutoFit/>
          </a:bodyPr>
          <a:lstStyle/>
          <a:p>
            <a:pPr algn="r" eaLnBrk="0" hangingPunct="0">
              <a:lnSpc>
                <a:spcPct val="90000"/>
              </a:lnSpc>
              <a:defRPr/>
            </a:pPr>
            <a:r>
              <a:rPr lang="cs-CZ" sz="1400" dirty="0" smtClean="0">
                <a:solidFill>
                  <a:schemeClr val="accent4"/>
                </a:solidFill>
                <a:latin typeface="Arial"/>
              </a:rPr>
              <a:t>Není kompletním výčtem</a:t>
            </a:r>
            <a:endParaRPr lang="cs-CZ" sz="1400" dirty="0">
              <a:solidFill>
                <a:schemeClr val="accent4"/>
              </a:solidFill>
              <a:latin typeface="Arial"/>
            </a:endParaRPr>
          </a:p>
        </p:txBody>
      </p:sp>
      <p:sp>
        <p:nvSpPr>
          <p:cNvPr id="14" name="Rectangle 13"/>
          <p:cNvSpPr/>
          <p:nvPr>
            <p:custDataLst>
              <p:tags r:id="rId7"/>
            </p:custDataLst>
          </p:nvPr>
        </p:nvSpPr>
        <p:spPr>
          <a:xfrm>
            <a:off x="244475" y="2060848"/>
            <a:ext cx="3420109" cy="126000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82663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</a:pPr>
            <a:r>
              <a:rPr lang="cs-CZ" sz="1600" b="1" dirty="0" smtClean="0">
                <a:latin typeface="Arial "/>
              </a:rPr>
              <a:t>Jaké jsou správné směry pro hledání inovací, na které se soustředit?</a:t>
            </a:r>
          </a:p>
        </p:txBody>
      </p:sp>
      <p:sp>
        <p:nvSpPr>
          <p:cNvPr id="83" name="Rectangle 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664584" y="2060848"/>
            <a:ext cx="5227896" cy="12600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lIns="72009" tIns="72009" rIns="72009" bIns="72009" anchor="ctr"/>
          <a:lstStyle/>
          <a:p>
            <a:pPr>
              <a:lnSpc>
                <a:spcPct val="90000"/>
              </a:lnSpc>
              <a:spcBef>
                <a:spcPts val="100"/>
              </a:spcBef>
              <a:defRPr/>
            </a:pPr>
            <a:r>
              <a:rPr lang="cs-CZ" sz="1600" dirty="0" smtClean="0">
                <a:cs typeface="Tahoma" pitchFamily="34" charset="0"/>
              </a:rPr>
              <a:t>BASF pravidelně spolupracuje se spotřebiteli, zákazníky a jinými účastníky </a:t>
            </a:r>
            <a:r>
              <a:rPr lang="cs-CZ" sz="1600" dirty="0" smtClean="0">
                <a:cs typeface="Tahoma" pitchFamily="34" charset="0"/>
              </a:rPr>
              <a:t>inovačního ekosystému </a:t>
            </a:r>
            <a:r>
              <a:rPr lang="cs-CZ" sz="1600" dirty="0" smtClean="0">
                <a:cs typeface="Tahoma" pitchFamily="34" charset="0"/>
              </a:rPr>
              <a:t>za účelem nalezení, prioritizace, a doladění klíčových trendů vedoucích k určení směrů pro hledání inovací. BASF se díky tomuto stal leaderem v chemickém průmyslu.</a:t>
            </a:r>
          </a:p>
        </p:txBody>
      </p:sp>
      <p:pic>
        <p:nvPicPr>
          <p:cNvPr id="85" name="Picture 9" descr="BASF - The Chemical Company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/>
          <a:stretch/>
        </p:blipFill>
        <p:spPr bwMode="auto">
          <a:xfrm>
            <a:off x="346249" y="2447106"/>
            <a:ext cx="841375" cy="477838"/>
          </a:xfrm>
          <a:prstGeom prst="rect">
            <a:avLst/>
          </a:prstGeom>
          <a:noFill/>
          <a:ln>
            <a:noFill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Oval 24"/>
          <p:cNvSpPr/>
          <p:nvPr>
            <p:custDataLst>
              <p:tags r:id="rId10"/>
            </p:custDataLst>
          </p:nvPr>
        </p:nvSpPr>
        <p:spPr>
          <a:xfrm>
            <a:off x="246380" y="804672"/>
            <a:ext cx="279400" cy="279400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cs-CZ" sz="1600" b="1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32" name="Rectangle 31"/>
          <p:cNvSpPr/>
          <p:nvPr>
            <p:custDataLst>
              <p:tags r:id="rId11"/>
            </p:custDataLst>
          </p:nvPr>
        </p:nvSpPr>
        <p:spPr>
          <a:xfrm>
            <a:off x="244475" y="5004857"/>
            <a:ext cx="3420109" cy="126000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82663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</a:pPr>
            <a:r>
              <a:rPr lang="cs-CZ" sz="1600" b="1" dirty="0" smtClean="0">
                <a:latin typeface="Arial "/>
              </a:rPr>
              <a:t>Jak minimalizovat náklady na R&amp;D a přitom zajistit naši dostatečnou diferenciaci?</a:t>
            </a:r>
            <a:endParaRPr lang="cs-CZ" sz="1600" b="1" dirty="0">
              <a:latin typeface="Arial "/>
            </a:endParaRPr>
          </a:p>
        </p:txBody>
      </p:sp>
      <p:sp>
        <p:nvSpPr>
          <p:cNvPr id="66" name="Rectangle 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664584" y="5004858"/>
            <a:ext cx="5227896" cy="12600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lIns="72009" tIns="72009" rIns="72009" bIns="72009" anchor="ctr"/>
          <a:lstStyle/>
          <a:p>
            <a:pPr>
              <a:lnSpc>
                <a:spcPct val="90000"/>
              </a:lnSpc>
              <a:spcBef>
                <a:spcPts val="100"/>
              </a:spcBef>
            </a:pPr>
            <a:r>
              <a:rPr lang="cs-CZ" sz="1600" dirty="0" smtClean="0">
                <a:cs typeface="Tahoma" pitchFamily="34" charset="0"/>
              </a:rPr>
              <a:t>Apple minimalizoval náklady na R&amp;D tím, že se otevřel navenek za využití App-Development platformy, což mu pomohlo několikanásobně překonat Nokii</a:t>
            </a:r>
          </a:p>
        </p:txBody>
      </p:sp>
      <p:pic>
        <p:nvPicPr>
          <p:cNvPr id="111669" name="Picture 53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099" y="5210075"/>
            <a:ext cx="701675" cy="811213"/>
          </a:xfrm>
          <a:prstGeom prst="rect">
            <a:avLst/>
          </a:prstGeom>
          <a:noFill/>
          <a:ln>
            <a:noFill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tangle 30"/>
          <p:cNvSpPr/>
          <p:nvPr>
            <p:custDataLst>
              <p:tags r:id="rId13"/>
            </p:custDataLst>
          </p:nvPr>
        </p:nvSpPr>
        <p:spPr>
          <a:xfrm>
            <a:off x="244475" y="3533978"/>
            <a:ext cx="3420109" cy="126000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82663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</a:pPr>
            <a:r>
              <a:rPr lang="cs-CZ" sz="1600" b="1" dirty="0" smtClean="0">
                <a:latin typeface="Arial "/>
              </a:rPr>
              <a:t>Na jaké myšlenky se soustředit, abychom rozvíjeli náš segment inteligentních rozvodných sítí?</a:t>
            </a:r>
            <a:endParaRPr lang="cs-CZ" sz="1600" b="1" dirty="0">
              <a:latin typeface="Arial "/>
            </a:endParaRPr>
          </a:p>
        </p:txBody>
      </p:sp>
      <p:sp>
        <p:nvSpPr>
          <p:cNvPr id="67" name="Rectangle 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664584" y="3537012"/>
            <a:ext cx="5227896" cy="12600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lIns="72009" tIns="72009" rIns="72009" bIns="72009" anchor="ctr"/>
          <a:lstStyle/>
          <a:p>
            <a:pPr>
              <a:lnSpc>
                <a:spcPct val="90000"/>
              </a:lnSpc>
              <a:spcBef>
                <a:spcPts val="100"/>
              </a:spcBef>
            </a:pPr>
            <a:r>
              <a:rPr lang="cs-CZ" sz="1600" dirty="0" smtClean="0">
                <a:cs typeface="Tahoma" pitchFamily="34" charset="0"/>
              </a:rPr>
              <a:t>GE doplnil svou zásobu nápadů k příští generaci rozvodných sítí z celosvětové spolupráce </a:t>
            </a:r>
            <a:r>
              <a:rPr lang="cs-CZ" sz="1600" dirty="0" smtClean="0">
                <a:cs typeface="Tahoma" pitchFamily="34" charset="0"/>
              </a:rPr>
              <a:t>se </a:t>
            </a:r>
            <a:r>
              <a:rPr lang="cs-CZ" sz="1600" dirty="0" smtClean="0">
                <a:cs typeface="Tahoma" pitchFamily="34" charset="0"/>
              </a:rPr>
              <a:t>70 000 uživateli, která vygenerovala více než 4 000 nápadů. </a:t>
            </a:r>
            <a:endParaRPr lang="cs-CZ" sz="1600" dirty="0" smtClean="0">
              <a:cs typeface="Tahoma" pitchFamily="34" charset="0"/>
            </a:endParaRPr>
          </a:p>
          <a:p>
            <a:pPr>
              <a:lnSpc>
                <a:spcPct val="90000"/>
              </a:lnSpc>
              <a:spcBef>
                <a:spcPts val="100"/>
              </a:spcBef>
            </a:pPr>
            <a:r>
              <a:rPr lang="cs-CZ" sz="1600" dirty="0" smtClean="0">
                <a:cs typeface="Tahoma" pitchFamily="34" charset="0"/>
              </a:rPr>
              <a:t>GE </a:t>
            </a:r>
            <a:r>
              <a:rPr lang="cs-CZ" sz="1600" dirty="0" smtClean="0">
                <a:cs typeface="Tahoma" pitchFamily="34" charset="0"/>
              </a:rPr>
              <a:t>to pomohlo přeskočit Siemens a zabezpečit si pozici 2. nejsilnějšího hráče na trhu inteligentních sítí. </a:t>
            </a:r>
            <a:endParaRPr lang="cs-CZ" sz="1600" dirty="0">
              <a:cs typeface="Tahoma" pitchFamily="34" charset="0"/>
            </a:endParaRPr>
          </a:p>
        </p:txBody>
      </p:sp>
      <p:pic>
        <p:nvPicPr>
          <p:cNvPr id="111670" name="Picture 54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68" y="3895775"/>
            <a:ext cx="541337" cy="541337"/>
          </a:xfrm>
          <a:prstGeom prst="rect">
            <a:avLst/>
          </a:prstGeom>
          <a:noFill/>
          <a:ln>
            <a:noFill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664797"/>
          </a:xfrm>
        </p:spPr>
        <p:txBody>
          <a:bodyPr/>
          <a:lstStyle/>
          <a:p>
            <a:pPr marL="358775"/>
            <a:r>
              <a:rPr lang="cs-CZ" dirty="0" smtClean="0"/>
              <a:t>Lídři v inovacích využívají otevřených, distribuovaných, inovací k pravidelnému doplňování nápadů</a:t>
            </a:r>
            <a:endParaRPr lang="cs-CZ" dirty="0"/>
          </a:p>
        </p:txBody>
      </p:sp>
      <p:sp>
        <p:nvSpPr>
          <p:cNvPr id="21" name="TextBox 20"/>
          <p:cNvSpPr txBox="1"/>
          <p:nvPr/>
        </p:nvSpPr>
        <p:spPr>
          <a:xfrm>
            <a:off x="7621358" y="139700"/>
            <a:ext cx="1271182" cy="1661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200" dirty="0" smtClean="0">
                <a:latin typeface="Arial"/>
              </a:rPr>
              <a:t>Faktor úspěchu </a:t>
            </a:r>
            <a:r>
              <a:rPr lang="en-US" sz="1200" dirty="0" smtClean="0">
                <a:latin typeface="Arial"/>
              </a:rPr>
              <a:t>#</a:t>
            </a:r>
            <a:r>
              <a:rPr lang="cs-CZ" sz="1200" dirty="0" smtClean="0">
                <a:latin typeface="Arial"/>
              </a:rPr>
              <a:t>3</a:t>
            </a:r>
            <a:endParaRPr lang="cs-CZ" sz="1200" dirty="0" smtClean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3065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44800" y="1627632"/>
            <a:ext cx="8646287" cy="1661993"/>
          </a:xfrm>
        </p:spPr>
        <p:txBody>
          <a:bodyPr/>
          <a:lstStyle/>
          <a:p>
            <a:r>
              <a:rPr lang="cs-CZ" b="1" dirty="0" smtClean="0">
                <a:solidFill>
                  <a:schemeClr val="bg2"/>
                </a:solidFill>
              </a:rPr>
              <a:t>Faktor úspěchu #4: </a:t>
            </a:r>
            <a:r>
              <a:rPr lang="cs-CZ" dirty="0" smtClean="0"/>
              <a:t>Lídři v inovacích …</a:t>
            </a:r>
            <a:br>
              <a:rPr lang="cs-CZ" dirty="0" smtClean="0"/>
            </a:b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… rozumí síle a možnostem své inovační základny a </a:t>
            </a:r>
            <a:r>
              <a:rPr lang="cs-CZ" dirty="0" smtClean="0"/>
              <a:t>dokáží tak lépe </a:t>
            </a:r>
            <a:r>
              <a:rPr lang="cs-CZ" dirty="0" smtClean="0"/>
              <a:t>spolupracovat se svými dodavateli na </a:t>
            </a:r>
            <a:r>
              <a:rPr lang="cs-CZ" dirty="0" smtClean="0"/>
              <a:t>jejich zapojení </a:t>
            </a:r>
            <a:r>
              <a:rPr lang="cs-CZ" dirty="0"/>
              <a:t/>
            </a:r>
            <a:br>
              <a:rPr lang="cs-CZ" dirty="0"/>
            </a:br>
            <a:r>
              <a:rPr lang="cs-CZ" dirty="0" smtClean="0"/>
              <a:t>do </a:t>
            </a:r>
            <a:r>
              <a:rPr lang="cs-CZ" dirty="0" smtClean="0"/>
              <a:t>inovačního procesu</a:t>
            </a:r>
            <a:endParaRPr lang="cs-CZ" dirty="0"/>
          </a:p>
        </p:txBody>
      </p:sp>
      <p:pic>
        <p:nvPicPr>
          <p:cNvPr id="13312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487576"/>
            <a:ext cx="1896243" cy="92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5203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16500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556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27" name="Object 2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96359042"/>
              </p:ext>
            </p:extLst>
          </p:nvPr>
        </p:nvGraphicFramePr>
        <p:xfrm>
          <a:off x="144463" y="2170113"/>
          <a:ext cx="8839200" cy="3505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557" name="Chart" r:id="rId23" imgW="8839200" imgH="3505290" progId="MSGraph.Chart.8">
                  <p:embed followColorScheme="full"/>
                </p:oleObj>
              </mc:Choice>
              <mc:Fallback>
                <p:oleObj name="Chart" r:id="rId23" imgW="8839200" imgH="35052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44463" y="2170113"/>
                        <a:ext cx="8839200" cy="3505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>
            <p:custDataLst>
              <p:tags r:id="rId5"/>
            </p:custDataLst>
          </p:nvPr>
        </p:nvSpPr>
        <p:spPr bwMode="auto">
          <a:xfrm>
            <a:off x="6421438" y="5675313"/>
            <a:ext cx="2039938" cy="38417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cs-CZ" sz="1400" b="1" dirty="0" smtClean="0">
                <a:solidFill>
                  <a:schemeClr val="tx1"/>
                </a:solidFill>
                <a:cs typeface="Arial"/>
              </a:rPr>
              <a:t>Nezahrnuto do strategie ale aplikováno v praxi</a:t>
            </a:r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Rectangle 28"/>
          <p:cNvSpPr/>
          <p:nvPr>
            <p:custDataLst>
              <p:tags r:id="rId6"/>
            </p:custDataLst>
          </p:nvPr>
        </p:nvSpPr>
        <p:spPr bwMode="auto">
          <a:xfrm>
            <a:off x="3441700" y="5675313"/>
            <a:ext cx="2236788" cy="38417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cs-CZ" sz="1400" b="1" dirty="0" smtClean="0">
                <a:solidFill>
                  <a:schemeClr val="tx1"/>
                </a:solidFill>
                <a:cs typeface="Arial"/>
              </a:rPr>
              <a:t>Ano, zahrnuto ve strategii, ale ne strukturovaně</a:t>
            </a:r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" name="Rectangle 29"/>
          <p:cNvSpPr/>
          <p:nvPr>
            <p:custDataLst>
              <p:tags r:id="rId7"/>
            </p:custDataLst>
          </p:nvPr>
        </p:nvSpPr>
        <p:spPr bwMode="auto">
          <a:xfrm>
            <a:off x="806450" y="5675313"/>
            <a:ext cx="1744663" cy="38417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cs-CZ" sz="1400" b="1" dirty="0" smtClean="0">
                <a:solidFill>
                  <a:schemeClr val="tx1"/>
                </a:solidFill>
                <a:cs typeface="Arial"/>
              </a:rPr>
              <a:t>Ano, strukturovaně zahrnuto ve strategii</a:t>
            </a:r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0963" name="Rectangle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gray">
          <a:xfrm>
            <a:off x="244800" y="804672"/>
            <a:ext cx="8640000" cy="644108"/>
          </a:xfrm>
        </p:spPr>
        <p:txBody>
          <a:bodyPr>
            <a:noAutofit/>
          </a:bodyPr>
          <a:lstStyle/>
          <a:p>
            <a:pPr marL="361950"/>
            <a:r>
              <a:rPr lang="cs-CZ" dirty="0" smtClean="0">
                <a:latin typeface="Arial"/>
              </a:rPr>
              <a:t>U vítězů Best </a:t>
            </a:r>
            <a:r>
              <a:rPr lang="cs-CZ" dirty="0" err="1" smtClean="0">
                <a:latin typeface="Arial"/>
              </a:rPr>
              <a:t>Innovator</a:t>
            </a:r>
            <a:r>
              <a:rPr lang="cs-CZ" dirty="0" smtClean="0">
                <a:latin typeface="Arial"/>
              </a:rPr>
              <a:t> je součástí inovační </a:t>
            </a:r>
            <a:r>
              <a:rPr lang="cs-CZ" dirty="0" smtClean="0">
                <a:latin typeface="Arial"/>
              </a:rPr>
              <a:t>strategie </a:t>
            </a:r>
            <a:r>
              <a:rPr lang="cs-CZ" dirty="0" smtClean="0">
                <a:latin typeface="Arial"/>
              </a:rPr>
              <a:t>způsob, </a:t>
            </a:r>
            <a:r>
              <a:rPr lang="cs-CZ" dirty="0" smtClean="0">
                <a:latin typeface="Arial"/>
              </a:rPr>
              <a:t>jak efektivně a včas zapojit </a:t>
            </a:r>
            <a:r>
              <a:rPr lang="cs-CZ" dirty="0" smtClean="0">
                <a:latin typeface="Arial"/>
              </a:rPr>
              <a:t>do </a:t>
            </a:r>
            <a:r>
              <a:rPr lang="cs-CZ" dirty="0" smtClean="0">
                <a:latin typeface="Arial"/>
              </a:rPr>
              <a:t>procesu dodavatele</a:t>
            </a:r>
            <a:endParaRPr lang="cs-CZ" dirty="0" smtClean="0">
              <a:latin typeface="Arial"/>
            </a:endParaRPr>
          </a:p>
        </p:txBody>
      </p:sp>
      <p:sp>
        <p:nvSpPr>
          <p:cNvPr id="21" name="TextBox 20"/>
          <p:cNvSpPr txBox="1"/>
          <p:nvPr>
            <p:custDataLst>
              <p:tags r:id="rId9"/>
            </p:custDataLst>
          </p:nvPr>
        </p:nvSpPr>
        <p:spPr bwMode="gray">
          <a:xfrm>
            <a:off x="244475" y="1628140"/>
            <a:ext cx="6842760" cy="249299"/>
          </a:xfrm>
          <a:prstGeom prst="rect">
            <a:avLst/>
          </a:prstGeom>
          <a:noFill/>
          <a:ln w="6350" cap="rnd">
            <a:noFill/>
            <a:round/>
          </a:ln>
          <a:extLst>
            <a:ext uri="{91240B29-F687-4F45-9708-019B960494DF}">
              <a14:hiddenLine xmlns:a14="http://schemas.microsoft.com/office/drawing/2010/main" w="6350" cap="rnd">
                <a:solidFill>
                  <a:srgbClr val="ADABA1"/>
                </a:solidFill>
                <a:round/>
              </a14:hiddenLine>
            </a:ext>
          </a:extLst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cs-CZ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Včasné zahrnutí dodavatelů jakou součást inovační strategie</a:t>
            </a:r>
          </a:p>
        </p:txBody>
      </p:sp>
      <p:sp>
        <p:nvSpPr>
          <p:cNvPr id="9" name="Rectangle 8"/>
          <p:cNvSpPr/>
          <p:nvPr>
            <p:custDataLst>
              <p:tags r:id="rId10"/>
            </p:custDataLst>
          </p:nvPr>
        </p:nvSpPr>
        <p:spPr bwMode="gray">
          <a:xfrm>
            <a:off x="245110" y="6368288"/>
            <a:ext cx="6400800" cy="368300"/>
          </a:xfrm>
          <a:prstGeom prst="rect">
            <a:avLst/>
          </a:prstGeom>
          <a:noFill/>
          <a:ln w="6350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rnd" cmpd="sng" algn="ctr">
                <a:solidFill>
                  <a:srgbClr val="ADABA1"/>
                </a:solidFill>
                <a:prstDash val="solid"/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b" anchorCtr="0">
            <a:noAutofit/>
          </a:bodyPr>
          <a:lstStyle/>
          <a:p>
            <a:pPr marL="137160" indent="-137160">
              <a:lnSpc>
                <a:spcPct val="90000"/>
              </a:lnSpc>
              <a:defRPr/>
            </a:pPr>
            <a:endParaRPr lang="cs-CZ" sz="8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37160" indent="-137160">
              <a:lnSpc>
                <a:spcPct val="90000"/>
              </a:lnSpc>
              <a:defRPr/>
            </a:pPr>
            <a:endParaRPr lang="cs-CZ" sz="8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37160" indent="-137160">
              <a:lnSpc>
                <a:spcPct val="90000"/>
              </a:lnSpc>
              <a:defRPr/>
            </a:pPr>
            <a:r>
              <a:rPr lang="cs-CZ" sz="800" dirty="0" smtClean="0">
                <a:solidFill>
                  <a:schemeClr val="tx1"/>
                </a:solidFill>
                <a:latin typeface="Arial"/>
                <a:cs typeface="Arial" pitchFamily="34" charset="0"/>
              </a:rPr>
              <a:t>Zdroj: A.T. Kearney Best Innovator 2012</a:t>
            </a:r>
            <a:endParaRPr lang="cs-CZ" sz="800" dirty="0">
              <a:solidFill>
                <a:schemeClr val="tx1"/>
              </a:solidFill>
              <a:latin typeface="Arial"/>
              <a:cs typeface="Arial" pitchFamily="34" charset="0"/>
            </a:endParaRPr>
          </a:p>
        </p:txBody>
      </p:sp>
      <p:sp>
        <p:nvSpPr>
          <p:cNvPr id="46" name="AutoShape 4"/>
          <p:cNvSpPr>
            <a:spLocks noChangeAspect="1" noChangeArrowheads="1"/>
          </p:cNvSpPr>
          <p:nvPr>
            <p:custDataLst>
              <p:tags r:id="rId11"/>
            </p:custDataLst>
          </p:nvPr>
        </p:nvSpPr>
        <p:spPr bwMode="auto">
          <a:xfrm rot="16200000" flipH="1" flipV="1">
            <a:off x="8597377" y="1717649"/>
            <a:ext cx="188512" cy="19488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 w="9525">
            <a:solidFill>
              <a:schemeClr val="bg1"/>
            </a:solidFill>
            <a:miter lim="800000"/>
            <a:headEnd/>
            <a:tailEnd type="none" w="sm" len="med"/>
          </a:ln>
        </p:spPr>
        <p:txBody>
          <a:bodyPr wrap="none" lIns="0" rIns="0" anchor="ctr"/>
          <a:lstStyle/>
          <a:p>
            <a:pPr algn="ctr" rtl="0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</a:pPr>
            <a:endParaRPr lang="de-DE" sz="1400" kern="1200" dirty="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0" name="Oval 39"/>
          <p:cNvSpPr/>
          <p:nvPr>
            <p:custDataLst>
              <p:tags r:id="rId12"/>
            </p:custDataLst>
          </p:nvPr>
        </p:nvSpPr>
        <p:spPr>
          <a:xfrm>
            <a:off x="246380" y="804672"/>
            <a:ext cx="279400" cy="279400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cs-CZ" sz="1600" b="1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32" name="Rectangle 31"/>
          <p:cNvSpPr/>
          <p:nvPr>
            <p:custDataLst>
              <p:tags r:id="rId13"/>
            </p:custDataLst>
          </p:nvPr>
        </p:nvSpPr>
        <p:spPr bwMode="auto">
          <a:xfrm>
            <a:off x="231775" y="6370638"/>
            <a:ext cx="179387" cy="133350"/>
          </a:xfrm>
          <a:prstGeom prst="rect">
            <a:avLst/>
          </a:prstGeom>
          <a:solidFill>
            <a:srgbClr val="778242"/>
          </a:solidFill>
          <a:ln w="9525" cap="flat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0"/>
          <p:cNvSpPr/>
          <p:nvPr>
            <p:custDataLst>
              <p:tags r:id="rId14"/>
            </p:custDataLst>
          </p:nvPr>
        </p:nvSpPr>
        <p:spPr bwMode="auto">
          <a:xfrm>
            <a:off x="231775" y="6183313"/>
            <a:ext cx="179387" cy="133350"/>
          </a:xfrm>
          <a:prstGeom prst="rect">
            <a:avLst/>
          </a:prstGeom>
          <a:solidFill>
            <a:srgbClr val="9B1717"/>
          </a:solidFill>
          <a:ln w="9525" cap="flat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/>
          <p:cNvSpPr/>
          <p:nvPr>
            <p:custDataLst>
              <p:tags r:id="rId15"/>
            </p:custDataLst>
          </p:nvPr>
        </p:nvSpPr>
        <p:spPr bwMode="auto">
          <a:xfrm>
            <a:off x="461963" y="6180138"/>
            <a:ext cx="1338263" cy="13652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59D95EB-5A85-4E80-954B-D3DBAD2F866D}" type="datetime'''''V''''í''tězové'''' ''''Be''st ''I''''''nnovato''''r'''">
              <a:rPr lang="cs-CZ" sz="1000" smtClean="0">
                <a:solidFill>
                  <a:schemeClr val="tx1"/>
                </a:solidFill>
                <a:cs typeface="Arial"/>
              </a:rPr>
              <a:pPr/>
              <a:t>Vítězové Best Innovator</a:t>
            </a:fld>
            <a:endParaRPr lang="cs-CZ" sz="10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Rectangle 33"/>
          <p:cNvSpPr/>
          <p:nvPr>
            <p:custDataLst>
              <p:tags r:id="rId16"/>
            </p:custDataLst>
          </p:nvPr>
        </p:nvSpPr>
        <p:spPr bwMode="auto">
          <a:xfrm>
            <a:off x="461962" y="6367463"/>
            <a:ext cx="1466850" cy="13652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8D6601E-7186-44A9-B8EC-ADD9F378065A}" type="datetime'P''''růmě''''''r úč''''as''tní''k''ů'' ''''sou''t''''''ěž''e'">
              <a:rPr lang="en-US" sz="1000">
                <a:solidFill>
                  <a:schemeClr val="tx1"/>
                </a:solidFill>
                <a:cs typeface="Arial"/>
              </a:rPr>
              <a:pPr/>
              <a:t>Průměr účastníků soutěže</a:t>
            </a:fld>
            <a:endParaRPr lang="cs-CZ" sz="10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8" name="Picture 5" descr="Best Innovator klein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458522" y="1444625"/>
            <a:ext cx="36195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>
            <p:custDataLst>
              <p:tags r:id="rId18"/>
            </p:custDataLst>
          </p:nvPr>
        </p:nvSpPr>
        <p:spPr>
          <a:xfrm>
            <a:off x="7621358" y="139700"/>
            <a:ext cx="1271182" cy="1661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200" dirty="0" smtClean="0">
                <a:latin typeface="Arial"/>
              </a:rPr>
              <a:t>Faktor úspěchu </a:t>
            </a:r>
            <a:r>
              <a:rPr lang="en-US" sz="1200" dirty="0" smtClean="0">
                <a:latin typeface="Arial"/>
              </a:rPr>
              <a:t>#</a:t>
            </a:r>
            <a:r>
              <a:rPr lang="cs-CZ" sz="1200" dirty="0" smtClean="0">
                <a:latin typeface="Arial"/>
              </a:rPr>
              <a:t>4</a:t>
            </a:r>
            <a:endParaRPr lang="cs-CZ" sz="1200" dirty="0" smtClean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41819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8" name="Rectangle 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41428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28" name="think-cell Slide" r:id="rId41" imgW="0" imgH="0" progId="TCLayout.ActiveDocument.1">
                  <p:embed/>
                </p:oleObj>
              </mc:Choice>
              <mc:Fallback>
                <p:oleObj name="think-cell Slide" r:id="rId41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530308" y="2355230"/>
            <a:ext cx="1343025" cy="1343025"/>
          </a:xfrm>
          <a:prstGeom prst="rect">
            <a:avLst/>
          </a:prstGeom>
          <a:solidFill>
            <a:schemeClr val="accent2">
              <a:lumMod val="9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endParaRPr lang="en-GB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9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871746" y="2355230"/>
            <a:ext cx="1343025" cy="1343025"/>
          </a:xfrm>
          <a:prstGeom prst="rect">
            <a:avLst/>
          </a:prstGeom>
          <a:solidFill>
            <a:schemeClr val="accent3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anchor="ctr"/>
          <a:lstStyle/>
          <a:p>
            <a:endParaRPr lang="en-GB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0" name="Rectangle 1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530308" y="3698255"/>
            <a:ext cx="1343025" cy="1343025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anchor="ctr"/>
          <a:lstStyle/>
          <a:p>
            <a:endParaRPr lang="en-GB" dirty="0">
              <a:latin typeface="Arial"/>
              <a:cs typeface="Arial"/>
            </a:endParaRPr>
          </a:p>
        </p:txBody>
      </p:sp>
      <p:sp>
        <p:nvSpPr>
          <p:cNvPr id="41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871746" y="3698255"/>
            <a:ext cx="1343025" cy="1343025"/>
          </a:xfrm>
          <a:prstGeom prst="rect">
            <a:avLst/>
          </a:prstGeom>
          <a:solidFill>
            <a:schemeClr val="accent2">
              <a:lumMod val="9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endParaRPr lang="en-GB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2" name="Rectangle 1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5110" y="3348692"/>
            <a:ext cx="1186773" cy="941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eaLnBrk="0" hangingPunct="0">
              <a:lnSpc>
                <a:spcPct val="90000"/>
              </a:lnSpc>
            </a:pPr>
            <a:r>
              <a:rPr lang="cs-CZ" sz="1200" b="1" dirty="0" smtClean="0">
                <a:solidFill>
                  <a:srgbClr val="000000"/>
                </a:solidFill>
              </a:rPr>
              <a:t>Inovační výkonost ve vztahu k strategickým potřebám</a:t>
            </a:r>
            <a:br>
              <a:rPr lang="cs-CZ" sz="1200" b="1" dirty="0" smtClean="0">
                <a:solidFill>
                  <a:srgbClr val="000000"/>
                </a:solidFill>
              </a:rPr>
            </a:br>
            <a:endParaRPr lang="cs-CZ" sz="1200" b="1" baseline="30000" dirty="0" smtClean="0">
              <a:solidFill>
                <a:srgbClr val="000000"/>
              </a:solidFill>
            </a:endParaRPr>
          </a:p>
        </p:txBody>
      </p:sp>
      <p:sp>
        <p:nvSpPr>
          <p:cNvPr id="43" name="Rectangle 1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871700" y="5125418"/>
            <a:ext cx="1974852" cy="166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cs-CZ" sz="1200" b="1" dirty="0" smtClean="0">
                <a:solidFill>
                  <a:srgbClr val="000000"/>
                </a:solidFill>
              </a:rPr>
              <a:t>Schopnost řízení inovací</a:t>
            </a:r>
            <a:endParaRPr lang="cs-CZ" sz="1200" b="1" baseline="30000" dirty="0">
              <a:solidFill>
                <a:srgbClr val="000000"/>
              </a:solidFill>
            </a:endParaRPr>
          </a:p>
        </p:txBody>
      </p:sp>
      <p:sp>
        <p:nvSpPr>
          <p:cNvPr id="44" name="Rectangle 1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511660" y="5084143"/>
            <a:ext cx="32701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cs-CZ" sz="1000" dirty="0" smtClean="0">
                <a:solidFill>
                  <a:srgbClr val="000000"/>
                </a:solidFill>
              </a:rPr>
              <a:t>Nízká</a:t>
            </a:r>
            <a:endParaRPr lang="cs-CZ" sz="1000" dirty="0">
              <a:solidFill>
                <a:srgbClr val="000000"/>
              </a:solidFill>
            </a:endParaRPr>
          </a:p>
        </p:txBody>
      </p:sp>
      <p:sp>
        <p:nvSpPr>
          <p:cNvPr id="45" name="Rectangle 2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865584" y="5084143"/>
            <a:ext cx="41838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 eaLnBrk="0" hangingPunct="0"/>
            <a:r>
              <a:rPr lang="cs-CZ" sz="1000" dirty="0" smtClean="0">
                <a:solidFill>
                  <a:srgbClr val="000000"/>
                </a:solidFill>
              </a:rPr>
              <a:t>Vysoká</a:t>
            </a:r>
            <a:endParaRPr lang="cs-CZ" sz="1000" dirty="0">
              <a:solidFill>
                <a:srgbClr val="000000"/>
              </a:solidFill>
            </a:endParaRPr>
          </a:p>
        </p:txBody>
      </p:sp>
      <p:sp>
        <p:nvSpPr>
          <p:cNvPr id="46" name="Rectangle 2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040487" y="2348880"/>
            <a:ext cx="41838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 eaLnBrk="0" hangingPunct="0"/>
            <a:r>
              <a:rPr lang="cs-CZ" sz="1000" dirty="0" smtClean="0">
                <a:solidFill>
                  <a:srgbClr val="000000"/>
                </a:solidFill>
              </a:rPr>
              <a:t>Vysoká</a:t>
            </a:r>
            <a:endParaRPr lang="cs-CZ" sz="1000" dirty="0">
              <a:solidFill>
                <a:srgbClr val="000000"/>
              </a:solidFill>
            </a:endParaRPr>
          </a:p>
        </p:txBody>
      </p:sp>
      <p:sp>
        <p:nvSpPr>
          <p:cNvPr id="47" name="Rectangle 2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31858" y="4890468"/>
            <a:ext cx="32701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 eaLnBrk="0" hangingPunct="0"/>
            <a:r>
              <a:rPr lang="cs-CZ" sz="1000" dirty="0" smtClean="0">
                <a:solidFill>
                  <a:srgbClr val="000000"/>
                </a:solidFill>
              </a:rPr>
              <a:t>Nízká</a:t>
            </a:r>
            <a:endParaRPr lang="cs-CZ" sz="1000" dirty="0">
              <a:solidFill>
                <a:srgbClr val="000000"/>
              </a:solidFill>
            </a:endParaRPr>
          </a:p>
        </p:txBody>
      </p:sp>
      <p:sp>
        <p:nvSpPr>
          <p:cNvPr id="50" name="Arc 25"/>
          <p:cNvSpPr>
            <a:spLocks/>
          </p:cNvSpPr>
          <p:nvPr>
            <p:custDataLst>
              <p:tags r:id="rId13"/>
            </p:custDataLst>
          </p:nvPr>
        </p:nvSpPr>
        <p:spPr bwMode="auto">
          <a:xfrm rot="5400000" flipV="1">
            <a:off x="2623250" y="2345004"/>
            <a:ext cx="1581294" cy="1601750"/>
          </a:xfrm>
          <a:custGeom>
            <a:avLst/>
            <a:gdLst>
              <a:gd name="T0" fmla="*/ 0 w 21600"/>
              <a:gd name="T1" fmla="*/ 0 h 21600"/>
              <a:gd name="T2" fmla="*/ 57006933 w 21600"/>
              <a:gd name="T3" fmla="*/ 81348022 h 21600"/>
              <a:gd name="T4" fmla="*/ 0 w 21600"/>
              <a:gd name="T5" fmla="*/ 81348022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wrap="none" lIns="72000" tIns="72000" rIns="72000" bIns="7200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" name="Oval 2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408531" y="2899224"/>
            <a:ext cx="214313" cy="214313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round/>
                <a:headEnd/>
                <a:tailEnd/>
              </a14:hiddenLine>
            </a:ext>
          </a:extLst>
        </p:spPr>
        <p:txBody>
          <a:bodyPr wrap="none" lIns="72000" tIns="72000" rIns="72000" bIns="72000" anchor="ctr"/>
          <a:lstStyle/>
          <a:p>
            <a:pPr algn="ctr"/>
            <a:r>
              <a:rPr lang="cs-CZ" sz="1200" b="1" dirty="0" smtClean="0">
                <a:solidFill>
                  <a:schemeClr val="bg1"/>
                </a:solidFill>
                <a:latin typeface="Arial"/>
                <a:cs typeface="Arial"/>
              </a:rPr>
              <a:t>A</a:t>
            </a:r>
            <a:endParaRPr lang="cs-CZ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2" name="Oval 2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730856" y="2576899"/>
            <a:ext cx="214312" cy="214313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  <a:extLst/>
        </p:spPr>
        <p:txBody>
          <a:bodyPr wrap="none" lIns="72000" tIns="72000" rIns="72000" bIns="72000" anchor="ctr"/>
          <a:lstStyle/>
          <a:p>
            <a:pPr algn="ctr"/>
            <a:r>
              <a:rPr lang="cs-CZ" sz="1200" b="1" dirty="0" smtClean="0">
                <a:solidFill>
                  <a:schemeClr val="bg1"/>
                </a:solidFill>
                <a:latin typeface="Arial"/>
                <a:cs typeface="Arial"/>
              </a:rPr>
              <a:t>G</a:t>
            </a:r>
            <a:endParaRPr lang="cs-CZ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3" name="Oval 28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074672" y="4485111"/>
            <a:ext cx="214313" cy="214313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round/>
                <a:headEnd/>
                <a:tailEnd/>
              </a14:hiddenLine>
            </a:ext>
          </a:extLst>
        </p:spPr>
        <p:txBody>
          <a:bodyPr wrap="none" lIns="72000" tIns="72000" rIns="72000" bIns="72000" anchor="ctr"/>
          <a:lstStyle/>
          <a:p>
            <a:pPr algn="ctr"/>
            <a:r>
              <a:rPr lang="cs-CZ" sz="1200" b="1" dirty="0" smtClean="0">
                <a:solidFill>
                  <a:schemeClr val="bg1"/>
                </a:solidFill>
                <a:latin typeface="Arial"/>
                <a:cs typeface="Arial"/>
              </a:rPr>
              <a:t>H</a:t>
            </a:r>
            <a:endParaRPr lang="cs-CZ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4" name="Oval 29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930656" y="3223260"/>
            <a:ext cx="214313" cy="214312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  <a:extLst/>
        </p:spPr>
        <p:txBody>
          <a:bodyPr wrap="none" lIns="72000" tIns="72000" rIns="72000" bIns="72000" anchor="ctr"/>
          <a:lstStyle/>
          <a:p>
            <a:pPr algn="ctr"/>
            <a:r>
              <a:rPr lang="cs-CZ" sz="1200" b="1" dirty="0" smtClean="0">
                <a:solidFill>
                  <a:schemeClr val="bg1"/>
                </a:solidFill>
                <a:latin typeface="Arial"/>
                <a:cs typeface="Arial"/>
              </a:rPr>
              <a:t>D</a:t>
            </a:r>
            <a:endParaRPr lang="cs-CZ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5" name="Oval 30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923216" y="3693023"/>
            <a:ext cx="214312" cy="214313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round/>
                <a:headEnd/>
                <a:tailEnd/>
              </a14:hiddenLine>
            </a:ext>
          </a:extLst>
        </p:spPr>
        <p:txBody>
          <a:bodyPr wrap="none" lIns="72000" tIns="72000" rIns="72000" bIns="72000" anchor="ctr"/>
          <a:lstStyle/>
          <a:p>
            <a:pPr algn="ctr"/>
            <a:r>
              <a:rPr lang="cs-CZ" sz="1200" b="1" dirty="0" smtClean="0">
                <a:solidFill>
                  <a:schemeClr val="bg1"/>
                </a:solidFill>
                <a:latin typeface="Arial"/>
                <a:cs typeface="Arial"/>
              </a:rPr>
              <a:t>B</a:t>
            </a:r>
            <a:endParaRPr lang="cs-CZ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6" name="Oval 3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904475" y="4197080"/>
            <a:ext cx="214313" cy="214312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  <a:extLst/>
        </p:spPr>
        <p:txBody>
          <a:bodyPr wrap="none" lIns="72000" tIns="72000" rIns="72000" bIns="72000" anchor="ctr"/>
          <a:lstStyle/>
          <a:p>
            <a:pPr algn="ctr"/>
            <a:r>
              <a:rPr lang="cs-CZ" sz="1200" b="1" dirty="0" smtClean="0">
                <a:solidFill>
                  <a:schemeClr val="bg1"/>
                </a:solidFill>
                <a:latin typeface="Arial"/>
                <a:cs typeface="Arial"/>
              </a:rPr>
              <a:t>F</a:t>
            </a:r>
            <a:endParaRPr lang="cs-CZ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7" name="Oval 32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769674" y="3148024"/>
            <a:ext cx="1332318" cy="1241136"/>
          </a:xfrm>
          <a:prstGeom prst="ellipse">
            <a:avLst/>
          </a:prstGeom>
          <a:solidFill>
            <a:schemeClr val="tx2"/>
          </a:solidFill>
          <a:ln w="6350" algn="ctr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round/>
                <a:headEnd/>
                <a:tailEnd/>
              </a14:hiddenLine>
            </a:ext>
          </a:extLst>
        </p:spPr>
        <p:txBody>
          <a:bodyPr wrap="none" lIns="72000" tIns="72000" rIns="72000" bIns="72000" anchor="ctr"/>
          <a:lstStyle/>
          <a:p>
            <a:endParaRPr lang="en-GB" sz="14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8" name="Freeform 33"/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4922335" y="3376309"/>
            <a:ext cx="1026995" cy="229597"/>
          </a:xfrm>
          <a:custGeom>
            <a:avLst/>
            <a:gdLst>
              <a:gd name="T0" fmla="*/ 0 w 925"/>
              <a:gd name="T1" fmla="*/ 0 h 175"/>
              <a:gd name="T2" fmla="*/ 1468438 w 925"/>
              <a:gd name="T3" fmla="*/ 1588 h 175"/>
              <a:gd name="T4" fmla="*/ 0 60000 65536"/>
              <a:gd name="T5" fmla="*/ 0 60000 65536"/>
              <a:gd name="T6" fmla="*/ 0 w 925"/>
              <a:gd name="T7" fmla="*/ 0 h 175"/>
              <a:gd name="T8" fmla="*/ 925 w 925"/>
              <a:gd name="T9" fmla="*/ 175 h 175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925" h="175">
                <a:moveTo>
                  <a:pt x="0" y="0"/>
                </a:moveTo>
                <a:cubicBezTo>
                  <a:pt x="27" y="16"/>
                  <a:pt x="465" y="175"/>
                  <a:pt x="925" y="1"/>
                </a:cubicBezTo>
              </a:path>
            </a:pathLst>
          </a:custGeom>
          <a:noFill/>
          <a:ln w="12700">
            <a:solidFill>
              <a:schemeClr val="accent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9" name="Freeform 34"/>
          <p:cNvSpPr>
            <a:spLocks/>
          </p:cNvSpPr>
          <p:nvPr>
            <p:custDataLst>
              <p:tags r:id="rId22"/>
            </p:custDataLst>
          </p:nvPr>
        </p:nvSpPr>
        <p:spPr bwMode="auto">
          <a:xfrm flipV="1">
            <a:off x="4922335" y="3936526"/>
            <a:ext cx="1026995" cy="229597"/>
          </a:xfrm>
          <a:custGeom>
            <a:avLst/>
            <a:gdLst>
              <a:gd name="T0" fmla="*/ 0 w 925"/>
              <a:gd name="T1" fmla="*/ 0 h 175"/>
              <a:gd name="T2" fmla="*/ 1468438 w 925"/>
              <a:gd name="T3" fmla="*/ 1587 h 175"/>
              <a:gd name="T4" fmla="*/ 0 60000 65536"/>
              <a:gd name="T5" fmla="*/ 0 60000 65536"/>
              <a:gd name="T6" fmla="*/ 0 w 925"/>
              <a:gd name="T7" fmla="*/ 0 h 175"/>
              <a:gd name="T8" fmla="*/ 925 w 925"/>
              <a:gd name="T9" fmla="*/ 175 h 175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925" h="175">
                <a:moveTo>
                  <a:pt x="0" y="0"/>
                </a:moveTo>
                <a:cubicBezTo>
                  <a:pt x="27" y="16"/>
                  <a:pt x="465" y="175"/>
                  <a:pt x="925" y="1"/>
                </a:cubicBezTo>
              </a:path>
            </a:pathLst>
          </a:custGeom>
          <a:noFill/>
          <a:ln w="12700">
            <a:solidFill>
              <a:schemeClr val="accent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60" name="Freeform 35"/>
          <p:cNvSpPr>
            <a:spLocks/>
          </p:cNvSpPr>
          <p:nvPr>
            <p:custDataLst>
              <p:tags r:id="rId23"/>
            </p:custDataLst>
          </p:nvPr>
        </p:nvSpPr>
        <p:spPr bwMode="auto">
          <a:xfrm rot="5400000" flipV="1">
            <a:off x="4631600" y="3676036"/>
            <a:ext cx="951188" cy="194296"/>
          </a:xfrm>
          <a:custGeom>
            <a:avLst/>
            <a:gdLst>
              <a:gd name="T0" fmla="*/ 0 w 925"/>
              <a:gd name="T1" fmla="*/ 0 h 175"/>
              <a:gd name="T2" fmla="*/ 1150938 w 925"/>
              <a:gd name="T3" fmla="*/ 1587 h 175"/>
              <a:gd name="T4" fmla="*/ 0 60000 65536"/>
              <a:gd name="T5" fmla="*/ 0 60000 65536"/>
              <a:gd name="T6" fmla="*/ 0 w 925"/>
              <a:gd name="T7" fmla="*/ 0 h 175"/>
              <a:gd name="T8" fmla="*/ 925 w 925"/>
              <a:gd name="T9" fmla="*/ 175 h 175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925" h="175">
                <a:moveTo>
                  <a:pt x="0" y="0"/>
                </a:moveTo>
                <a:cubicBezTo>
                  <a:pt x="27" y="16"/>
                  <a:pt x="465" y="175"/>
                  <a:pt x="925" y="1"/>
                </a:cubicBezTo>
              </a:path>
            </a:pathLst>
          </a:custGeom>
          <a:noFill/>
          <a:ln w="12700">
            <a:solidFill>
              <a:schemeClr val="accent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61" name="Freeform 37"/>
          <p:cNvSpPr>
            <a:spLocks/>
          </p:cNvSpPr>
          <p:nvPr>
            <p:custDataLst>
              <p:tags r:id="rId24"/>
            </p:custDataLst>
          </p:nvPr>
        </p:nvSpPr>
        <p:spPr bwMode="auto">
          <a:xfrm rot="16200000" flipH="1" flipV="1">
            <a:off x="5271215" y="3676036"/>
            <a:ext cx="964307" cy="194296"/>
          </a:xfrm>
          <a:custGeom>
            <a:avLst/>
            <a:gdLst>
              <a:gd name="T0" fmla="*/ 0 w 925"/>
              <a:gd name="T1" fmla="*/ 0 h 175"/>
              <a:gd name="T2" fmla="*/ 1166812 w 925"/>
              <a:gd name="T3" fmla="*/ 1587 h 175"/>
              <a:gd name="T4" fmla="*/ 0 60000 65536"/>
              <a:gd name="T5" fmla="*/ 0 60000 65536"/>
              <a:gd name="T6" fmla="*/ 0 w 925"/>
              <a:gd name="T7" fmla="*/ 0 h 175"/>
              <a:gd name="T8" fmla="*/ 925 w 925"/>
              <a:gd name="T9" fmla="*/ 175 h 175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925" h="175">
                <a:moveTo>
                  <a:pt x="0" y="0"/>
                </a:moveTo>
                <a:cubicBezTo>
                  <a:pt x="27" y="16"/>
                  <a:pt x="465" y="175"/>
                  <a:pt x="925" y="1"/>
                </a:cubicBezTo>
              </a:path>
            </a:pathLst>
          </a:custGeom>
          <a:noFill/>
          <a:ln w="12700">
            <a:solidFill>
              <a:schemeClr val="accent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62" name="Line 38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>
            <a:off x="5444159" y="3148024"/>
            <a:ext cx="0" cy="1241136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2000" tIns="72000" rIns="72000" bIns="72000" anchor="ctr"/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63" name="Rectangle 39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974518" y="3429000"/>
            <a:ext cx="940393" cy="96949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cs-CZ" sz="1400" b="1" dirty="0" smtClean="0">
                <a:solidFill>
                  <a:srgbClr val="FFFFFF"/>
                </a:solidFill>
              </a:rPr>
              <a:t>Dodava-telská inovační síť</a:t>
            </a:r>
            <a:br>
              <a:rPr lang="cs-CZ" sz="1400" b="1" dirty="0" smtClean="0">
                <a:solidFill>
                  <a:srgbClr val="FFFFFF"/>
                </a:solidFill>
              </a:rPr>
            </a:br>
            <a:endParaRPr lang="cs-CZ" sz="1400" b="1" dirty="0">
              <a:solidFill>
                <a:srgbClr val="FFFFFF"/>
              </a:solidFill>
            </a:endParaRPr>
          </a:p>
        </p:txBody>
      </p:sp>
      <p:sp>
        <p:nvSpPr>
          <p:cNvPr id="64" name="Rectangle 40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244475" y="1628140"/>
            <a:ext cx="6842760" cy="249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cs-CZ" b="1" dirty="0" smtClean="0">
                <a:solidFill>
                  <a:srgbClr val="000000"/>
                </a:solidFill>
                <a:latin typeface="Arial"/>
              </a:rPr>
              <a:t>Výběr dodavatelů a jejich rozvoj</a:t>
            </a:r>
            <a:endParaRPr lang="cs-CZ" b="1" dirty="0">
              <a:latin typeface="Arial"/>
            </a:endParaRPr>
          </a:p>
        </p:txBody>
      </p:sp>
      <p:sp>
        <p:nvSpPr>
          <p:cNvPr id="65" name="Oval 41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2187533" y="4071318"/>
            <a:ext cx="214313" cy="214312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  <a:extLst/>
        </p:spPr>
        <p:txBody>
          <a:bodyPr wrap="none" lIns="72000" tIns="72000" rIns="72000" bIns="72000" anchor="ctr"/>
          <a:lstStyle/>
          <a:p>
            <a:pPr algn="ctr"/>
            <a:r>
              <a:rPr lang="cs-CZ" sz="1200" b="1" dirty="0" smtClean="0">
                <a:solidFill>
                  <a:schemeClr val="bg1"/>
                </a:solidFill>
                <a:latin typeface="Arial"/>
                <a:cs typeface="Arial"/>
              </a:rPr>
              <a:t>C</a:t>
            </a:r>
            <a:endParaRPr lang="cs-CZ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66" name="Oval 42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3550836" y="4447555"/>
            <a:ext cx="214313" cy="214313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round/>
                <a:headEnd/>
                <a:tailEnd/>
              </a14:hiddenLine>
            </a:ext>
          </a:extLst>
        </p:spPr>
        <p:txBody>
          <a:bodyPr wrap="none" lIns="72000" tIns="72000" rIns="72000" bIns="72000" anchor="ctr"/>
          <a:lstStyle/>
          <a:p>
            <a:pPr algn="ctr"/>
            <a:r>
              <a:rPr lang="cs-CZ" sz="1200" b="1" dirty="0" smtClean="0">
                <a:solidFill>
                  <a:schemeClr val="bg1"/>
                </a:solidFill>
                <a:latin typeface="Arial"/>
                <a:cs typeface="Arial"/>
              </a:rPr>
              <a:t>K</a:t>
            </a:r>
            <a:endParaRPr lang="cs-CZ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9" name="Oval 43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882733" y="2690193"/>
            <a:ext cx="214313" cy="214312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round/>
                <a:headEnd/>
                <a:tailEnd/>
              </a14:hiddenLine>
            </a:ext>
          </a:extLst>
        </p:spPr>
        <p:txBody>
          <a:bodyPr wrap="none" lIns="72000" tIns="72000" rIns="72000" bIns="72000" anchor="ctr"/>
          <a:lstStyle/>
          <a:p>
            <a:pPr algn="ctr"/>
            <a:r>
              <a:rPr lang="cs-CZ" sz="1200" b="1" dirty="0" smtClean="0">
                <a:solidFill>
                  <a:schemeClr val="bg1"/>
                </a:solidFill>
                <a:latin typeface="Arial"/>
                <a:cs typeface="Arial"/>
              </a:rPr>
              <a:t>M</a:t>
            </a:r>
            <a:endParaRPr lang="cs-CZ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1"/>
            </p:custDataLst>
          </p:nvPr>
        </p:nvSpPr>
        <p:spPr>
          <a:xfrm>
            <a:off x="244800" y="804672"/>
            <a:ext cx="8640000" cy="664797"/>
          </a:xfrm>
        </p:spPr>
        <p:txBody>
          <a:bodyPr/>
          <a:lstStyle/>
          <a:p>
            <a:pPr marL="358775"/>
            <a:r>
              <a:rPr lang="cs-CZ" dirty="0" smtClean="0"/>
              <a:t>Lídři v inovacích systematicky rozvíjejí svou inovační základnu a síť</a:t>
            </a:r>
            <a:endParaRPr lang="cs-CZ" dirty="0"/>
          </a:p>
        </p:txBody>
      </p:sp>
      <p:sp>
        <p:nvSpPr>
          <p:cNvPr id="4" name="Isosceles Triangle 3"/>
          <p:cNvSpPr/>
          <p:nvPr/>
        </p:nvSpPr>
        <p:spPr>
          <a:xfrm rot="5400000">
            <a:off x="3579304" y="3692393"/>
            <a:ext cx="1905000" cy="152400"/>
          </a:xfrm>
          <a:prstGeom prst="triangl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de-DE" sz="16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2" name="Isosceles Triangle 71"/>
          <p:cNvSpPr/>
          <p:nvPr/>
        </p:nvSpPr>
        <p:spPr>
          <a:xfrm rot="16200000" flipH="1">
            <a:off x="5343500" y="3692393"/>
            <a:ext cx="1905000" cy="152400"/>
          </a:xfrm>
          <a:prstGeom prst="triangl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de-DE" sz="16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3" name="Rectangle 28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6606918" y="2877196"/>
            <a:ext cx="2285562" cy="1782796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square" lIns="72009" tIns="72009" rIns="72009" bIns="72009" anchor="ctr">
            <a:spAutoFit/>
          </a:bodyPr>
          <a:lstStyle/>
          <a:p>
            <a:pPr eaLnBrk="0" hangingPunct="0">
              <a:lnSpc>
                <a:spcPct val="90000"/>
              </a:lnSpc>
              <a:spcBef>
                <a:spcPts val="1200"/>
              </a:spcBef>
              <a:buFont typeface="Wingdings" pitchFamily="2" charset="2"/>
              <a:buNone/>
            </a:pPr>
            <a:r>
              <a:rPr lang="cs-CZ" sz="1600" b="1" dirty="0" smtClean="0">
                <a:solidFill>
                  <a:srgbClr val="000000"/>
                </a:solidFill>
              </a:rPr>
              <a:t>Řízení inovační sítě</a:t>
            </a:r>
          </a:p>
          <a:p>
            <a:pPr marL="129600" lvl="1" indent="-129600" eaLnBrk="0" hangingPunct="0">
              <a:lnSpc>
                <a:spcPct val="90000"/>
              </a:lnSpc>
              <a:spcBef>
                <a:spcPts val="1200"/>
              </a:spcBef>
              <a:buClr>
                <a:schemeClr val="bg2"/>
              </a:buClr>
              <a:buSzPct val="100000"/>
              <a:buFont typeface="Arial"/>
              <a:buChar char="•"/>
            </a:pPr>
            <a:r>
              <a:rPr lang="cs-CZ" sz="1600" dirty="0" smtClean="0">
                <a:solidFill>
                  <a:srgbClr val="000000"/>
                </a:solidFill>
              </a:rPr>
              <a:t>Strategické začlenění v souladu s vlastní inovační strategií</a:t>
            </a:r>
          </a:p>
          <a:p>
            <a:pPr marL="129600" lvl="1" indent="-129600" eaLnBrk="0" hangingPunct="0">
              <a:lnSpc>
                <a:spcPct val="90000"/>
              </a:lnSpc>
              <a:spcBef>
                <a:spcPts val="1200"/>
              </a:spcBef>
              <a:buClr>
                <a:schemeClr val="bg2"/>
              </a:buClr>
              <a:buSzPct val="100000"/>
              <a:buFont typeface="Arial"/>
              <a:buChar char="•"/>
            </a:pPr>
            <a:r>
              <a:rPr lang="cs-CZ" sz="1600" dirty="0" smtClean="0">
                <a:solidFill>
                  <a:srgbClr val="000000"/>
                </a:solidFill>
              </a:rPr>
              <a:t>Společné vývojové aktivity</a:t>
            </a:r>
            <a:endParaRPr lang="cs-CZ" sz="1600" dirty="0">
              <a:solidFill>
                <a:srgbClr val="000000"/>
              </a:solidFill>
            </a:endParaRPr>
          </a:p>
        </p:txBody>
      </p:sp>
      <p:cxnSp>
        <p:nvCxnSpPr>
          <p:cNvPr id="8" name="Straight Arrow Connector 7"/>
          <p:cNvCxnSpPr>
            <a:stCxn id="66" idx="0"/>
          </p:cNvCxnSpPr>
          <p:nvPr/>
        </p:nvCxnSpPr>
        <p:spPr>
          <a:xfrm flipV="1">
            <a:off x="3657993" y="3148026"/>
            <a:ext cx="107156" cy="1299529"/>
          </a:xfrm>
          <a:prstGeom prst="straightConnector1">
            <a:avLst/>
          </a:prstGeom>
          <a:ln w="28575" cap="flat">
            <a:solidFill>
              <a:schemeClr val="bg2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65" idx="7"/>
          </p:cNvCxnSpPr>
          <p:nvPr/>
        </p:nvCxnSpPr>
        <p:spPr>
          <a:xfrm flipV="1">
            <a:off x="2370461" y="3026743"/>
            <a:ext cx="928347" cy="1075960"/>
          </a:xfrm>
          <a:prstGeom prst="straightConnector1">
            <a:avLst/>
          </a:prstGeom>
          <a:ln w="28575" cap="flat">
            <a:solidFill>
              <a:schemeClr val="bg2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stCxn id="79" idx="6"/>
          </p:cNvCxnSpPr>
          <p:nvPr/>
        </p:nvCxnSpPr>
        <p:spPr>
          <a:xfrm flipV="1">
            <a:off x="2097046" y="2791212"/>
            <a:ext cx="1201762" cy="6137"/>
          </a:xfrm>
          <a:prstGeom prst="straightConnector1">
            <a:avLst/>
          </a:prstGeom>
          <a:ln w="28575" cap="flat">
            <a:solidFill>
              <a:schemeClr val="bg2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/>
          <p:nvPr/>
        </p:nvCxnSpPr>
        <p:spPr>
          <a:xfrm>
            <a:off x="4457762" y="6416588"/>
            <a:ext cx="222250" cy="0"/>
          </a:xfrm>
          <a:prstGeom prst="straightConnector1">
            <a:avLst/>
          </a:prstGeom>
          <a:ln w="28575" cap="flat">
            <a:solidFill>
              <a:schemeClr val="bg2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 19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4715054" y="6339644"/>
            <a:ext cx="241323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/>
            <a:r>
              <a:rPr lang="cs-CZ" sz="1000" dirty="0" smtClean="0">
                <a:solidFill>
                  <a:srgbClr val="000000"/>
                </a:solidFill>
              </a:rPr>
              <a:t>Dohodnutá cesta rozvoje dodavatele</a:t>
            </a:r>
            <a:endParaRPr lang="cs-CZ" sz="1000" dirty="0">
              <a:solidFill>
                <a:srgbClr val="000000"/>
              </a:solidFill>
            </a:endParaRPr>
          </a:p>
        </p:txBody>
      </p:sp>
      <p:sp>
        <p:nvSpPr>
          <p:cNvPr id="74" name="Oval 31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253478" y="6344588"/>
            <a:ext cx="144000" cy="144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  <a:extLst/>
        </p:spPr>
        <p:txBody>
          <a:bodyPr wrap="none" lIns="72000" tIns="72000" rIns="72000" bIns="72000" anchor="ctr"/>
          <a:lstStyle/>
          <a:p>
            <a:pPr algn="ctr"/>
            <a:endParaRPr lang="en-US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5" name="Oval 28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2339752" y="6344588"/>
            <a:ext cx="144000" cy="144000"/>
          </a:xfrm>
          <a:prstGeom prst="ellipse">
            <a:avLst/>
          </a:prstGeom>
          <a:solidFill>
            <a:schemeClr val="bg2"/>
          </a:solidFill>
          <a:ln w="6350" algn="ctr">
            <a:noFill/>
            <a:round/>
            <a:headEnd/>
            <a:tailEnd/>
          </a:ln>
          <a:extLst/>
        </p:spPr>
        <p:txBody>
          <a:bodyPr wrap="none" lIns="72000" tIns="72000" rIns="72000" bIns="72000" anchor="ctr"/>
          <a:lstStyle/>
          <a:p>
            <a:pPr algn="ctr"/>
            <a:endParaRPr lang="en-US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6" name="Rectangle 19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431540" y="6339644"/>
            <a:ext cx="212237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/>
            <a:r>
              <a:rPr lang="cs-CZ" sz="1000" dirty="0" smtClean="0">
                <a:solidFill>
                  <a:srgbClr val="000000"/>
                </a:solidFill>
              </a:rPr>
              <a:t>Dodavatelé pro oblast inovací 1</a:t>
            </a:r>
          </a:p>
        </p:txBody>
      </p:sp>
      <p:sp>
        <p:nvSpPr>
          <p:cNvPr id="77" name="Rectangle 19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2529588" y="6339644"/>
            <a:ext cx="186239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/>
            <a:r>
              <a:rPr lang="cs-CZ" sz="1000" dirty="0" smtClean="0">
                <a:solidFill>
                  <a:srgbClr val="000000"/>
                </a:solidFill>
              </a:rPr>
              <a:t>Dodavatelé pro oblast inovací 2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7621358" y="139700"/>
            <a:ext cx="1271182" cy="1661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200" dirty="0" smtClean="0">
                <a:latin typeface="Arial"/>
              </a:rPr>
              <a:t>Faktor úspěchu </a:t>
            </a:r>
            <a:r>
              <a:rPr lang="en-US" sz="1200" dirty="0" smtClean="0">
                <a:latin typeface="Arial"/>
              </a:rPr>
              <a:t>#</a:t>
            </a:r>
            <a:r>
              <a:rPr lang="cs-CZ" sz="1200" dirty="0" smtClean="0">
                <a:latin typeface="Arial"/>
              </a:rPr>
              <a:t>4</a:t>
            </a:r>
            <a:endParaRPr lang="cs-CZ" sz="1200" dirty="0" smtClean="0">
              <a:latin typeface="Arial"/>
            </a:endParaRPr>
          </a:p>
        </p:txBody>
      </p:sp>
      <p:sp>
        <p:nvSpPr>
          <p:cNvPr id="80" name="Oval 79"/>
          <p:cNvSpPr/>
          <p:nvPr>
            <p:custDataLst>
              <p:tags r:id="rId38"/>
            </p:custDataLst>
          </p:nvPr>
        </p:nvSpPr>
        <p:spPr>
          <a:xfrm>
            <a:off x="246380" y="804672"/>
            <a:ext cx="279400" cy="279400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cs-CZ" sz="1600" b="1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67" name="Rectangle 66"/>
          <p:cNvSpPr/>
          <p:nvPr>
            <p:custDataLst>
              <p:tags r:id="rId39"/>
            </p:custDataLst>
          </p:nvPr>
        </p:nvSpPr>
        <p:spPr bwMode="gray">
          <a:xfrm>
            <a:off x="245110" y="6368288"/>
            <a:ext cx="6400800" cy="368300"/>
          </a:xfrm>
          <a:prstGeom prst="rect">
            <a:avLst/>
          </a:prstGeom>
          <a:noFill/>
          <a:ln w="6350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rnd" cmpd="sng" algn="ctr">
                <a:solidFill>
                  <a:srgbClr val="ADABA1"/>
                </a:solidFill>
                <a:prstDash val="solid"/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b" anchorCtr="0">
            <a:noAutofit/>
          </a:bodyPr>
          <a:lstStyle/>
          <a:p>
            <a:pPr marL="137160" indent="-137160">
              <a:lnSpc>
                <a:spcPct val="90000"/>
              </a:lnSpc>
              <a:defRPr/>
            </a:pPr>
            <a:endParaRPr lang="cs-CZ" sz="8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37160" indent="-137160">
              <a:lnSpc>
                <a:spcPct val="90000"/>
              </a:lnSpc>
              <a:defRPr/>
            </a:pPr>
            <a:endParaRPr lang="cs-CZ" sz="8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37160" indent="-137160">
              <a:lnSpc>
                <a:spcPct val="90000"/>
              </a:lnSpc>
              <a:defRPr/>
            </a:pPr>
            <a:r>
              <a:rPr lang="cs-CZ" sz="800" dirty="0" smtClean="0">
                <a:solidFill>
                  <a:schemeClr val="tx1"/>
                </a:solidFill>
                <a:latin typeface="Arial"/>
                <a:cs typeface="Arial" pitchFamily="34" charset="0"/>
              </a:rPr>
              <a:t>Zdroj: A.T. Kearney</a:t>
            </a:r>
            <a:endParaRPr lang="cs-CZ" sz="800" dirty="0">
              <a:solidFill>
                <a:schemeClr val="tx1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0912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44800" y="1627632"/>
            <a:ext cx="8646287" cy="1661993"/>
          </a:xfrm>
        </p:spPr>
        <p:txBody>
          <a:bodyPr/>
          <a:lstStyle/>
          <a:p>
            <a:r>
              <a:rPr lang="cs-CZ" b="1" dirty="0" smtClean="0">
                <a:solidFill>
                  <a:schemeClr val="bg2"/>
                </a:solidFill>
              </a:rPr>
              <a:t>Faktor úspěchu #5: </a:t>
            </a:r>
            <a:r>
              <a:rPr lang="cs-CZ" dirty="0" smtClean="0"/>
              <a:t>Lídři v inovacích …</a:t>
            </a:r>
            <a:br>
              <a:rPr lang="cs-CZ" dirty="0" smtClean="0"/>
            </a:b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… využívají </a:t>
            </a:r>
            <a:r>
              <a:rPr lang="cs-CZ" dirty="0" smtClean="0"/>
              <a:t>měření výkonnosti </a:t>
            </a:r>
            <a:r>
              <a:rPr lang="cs-CZ" dirty="0" smtClean="0"/>
              <a:t>napříč </a:t>
            </a:r>
            <a:r>
              <a:rPr lang="cs-CZ" dirty="0" smtClean="0"/>
              <a:t>vícero funkčními oblastmi </a:t>
            </a:r>
            <a:br>
              <a:rPr lang="cs-CZ" dirty="0" smtClean="0"/>
            </a:br>
            <a:r>
              <a:rPr lang="cs-CZ" dirty="0" smtClean="0"/>
              <a:t>za </a:t>
            </a:r>
            <a:r>
              <a:rPr lang="cs-CZ" dirty="0" smtClean="0"/>
              <a:t>účelem konzistentního </a:t>
            </a:r>
            <a:r>
              <a:rPr lang="cs-CZ" dirty="0" smtClean="0"/>
              <a:t>řízení životního cyklu inovací</a:t>
            </a:r>
            <a:r>
              <a:rPr lang="cs-CZ" dirty="0" smtClean="0"/>
              <a:t/>
            </a:r>
            <a:br>
              <a:rPr lang="cs-CZ" dirty="0" smtClean="0"/>
            </a:br>
            <a:endParaRPr lang="cs-CZ" dirty="0"/>
          </a:p>
        </p:txBody>
      </p:sp>
      <p:pic>
        <p:nvPicPr>
          <p:cNvPr id="13414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6237" y="486967"/>
            <a:ext cx="1896243" cy="92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7447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2" name="Rectangle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82879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53" name="think-cell Slide" r:id="rId22" imgW="0" imgH="0" progId="TCLayout.ActiveDocument.1">
                  <p:embed/>
                </p:oleObj>
              </mc:Choice>
              <mc:Fallback>
                <p:oleObj name="think-cell Slide" r:id="rId22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64" name="Rectangle 5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9367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vert="horz" wrap="none" lIns="0" tIns="0" rIns="0" bIns="0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400" b="1" dirty="0">
              <a:latin typeface="Arial"/>
              <a:cs typeface="Arial"/>
              <a:sym typeface="Arial"/>
            </a:endParaRPr>
          </a:p>
        </p:txBody>
      </p:sp>
      <p:sp>
        <p:nvSpPr>
          <p:cNvPr id="22533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244800" y="804672"/>
            <a:ext cx="8640000" cy="664797"/>
          </a:xfrm>
        </p:spPr>
        <p:txBody>
          <a:bodyPr/>
          <a:lstStyle/>
          <a:p>
            <a:pPr marL="361950"/>
            <a:r>
              <a:rPr lang="cs-CZ" dirty="0" smtClean="0"/>
              <a:t>Vítězové Best Innovator řídí inovace konzistentně a pečlivě, napříč celým inovačním cyklem</a:t>
            </a:r>
          </a:p>
        </p:txBody>
      </p:sp>
      <p:sp>
        <p:nvSpPr>
          <p:cNvPr id="22534" name="Text 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4475" y="1628140"/>
            <a:ext cx="6842760" cy="2492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cs-CZ" b="1" dirty="0" smtClean="0">
                <a:latin typeface="Arial"/>
              </a:rPr>
              <a:t>Rozsah řízení portfolia inovací</a:t>
            </a:r>
            <a:endParaRPr lang="cs-CZ" b="1" baseline="30000" dirty="0">
              <a:latin typeface="Arial"/>
            </a:endParaRPr>
          </a:p>
        </p:txBody>
      </p:sp>
      <p:sp>
        <p:nvSpPr>
          <p:cNvPr id="41" name="Oval 40"/>
          <p:cNvSpPr/>
          <p:nvPr>
            <p:custDataLst>
              <p:tags r:id="rId6"/>
            </p:custDataLst>
          </p:nvPr>
        </p:nvSpPr>
        <p:spPr>
          <a:xfrm>
            <a:off x="246380" y="804672"/>
            <a:ext cx="279400" cy="279400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cs-CZ" sz="1600" b="1" dirty="0">
                <a:solidFill>
                  <a:schemeClr val="bg1"/>
                </a:solidFill>
                <a:latin typeface="Arial"/>
                <a:cs typeface="Arial" pitchFamily="34" charset="0"/>
              </a:rPr>
              <a:t>5</a:t>
            </a:r>
            <a:endParaRPr lang="cs-CZ" sz="1600" b="1" dirty="0" smtClean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graphicFrame>
        <p:nvGraphicFramePr>
          <p:cNvPr id="58" name="Object 57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27707768"/>
              </p:ext>
            </p:extLst>
          </p:nvPr>
        </p:nvGraphicFramePr>
        <p:xfrm>
          <a:off x="187325" y="1979613"/>
          <a:ext cx="8839200" cy="297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54" name="Chart" r:id="rId23" imgW="8839200" imgH="2971800" progId="MSGraph.Chart.8">
                  <p:embed followColorScheme="full"/>
                </p:oleObj>
              </mc:Choice>
              <mc:Fallback>
                <p:oleObj name="Chart" r:id="rId23" imgW="8839200" imgH="29718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87325" y="1979613"/>
                        <a:ext cx="8839200" cy="2971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48" name="Rectangle 22547"/>
          <p:cNvSpPr/>
          <p:nvPr>
            <p:custDataLst>
              <p:tags r:id="rId8"/>
            </p:custDataLst>
          </p:nvPr>
        </p:nvSpPr>
        <p:spPr bwMode="auto">
          <a:xfrm>
            <a:off x="7315200" y="4941888"/>
            <a:ext cx="1489075" cy="38417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cs-CZ" sz="1400" b="1" dirty="0" smtClean="0">
                <a:solidFill>
                  <a:schemeClr val="tx1"/>
                </a:solidFill>
                <a:cs typeface="Arial"/>
              </a:rPr>
              <a:t>Portfolio běžících produktů</a:t>
            </a:r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547" name="Rectangle 22546"/>
          <p:cNvSpPr/>
          <p:nvPr>
            <p:custDataLst>
              <p:tags r:id="rId9"/>
            </p:custDataLst>
          </p:nvPr>
        </p:nvSpPr>
        <p:spPr bwMode="auto">
          <a:xfrm>
            <a:off x="5627688" y="4941888"/>
            <a:ext cx="1408113" cy="38417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cs-CZ" sz="1400" b="1" smtClean="0">
                <a:solidFill>
                  <a:schemeClr val="tx1"/>
                </a:solidFill>
                <a:cs typeface="Arial"/>
              </a:rPr>
              <a:t>Portfolio </a:t>
            </a:r>
            <a:fld id="{ABF5CF79-44BB-485D-B66D-CF84AF9B3780}" type="datetime' '">
              <a:rPr lang="cs-CZ" sz="1400" b="1" smtClean="0">
                <a:solidFill>
                  <a:schemeClr val="tx1"/>
                </a:solidFill>
                <a:cs typeface="Arial"/>
              </a:rPr>
              <a:t> </a:t>
            </a:fld>
            <a:r>
              <a:rPr lang="cs-CZ" sz="1400" b="1" smtClean="0">
                <a:solidFill>
                  <a:schemeClr val="tx1"/>
                </a:solidFill>
                <a:cs typeface="Arial"/>
              </a:rPr>
              <a:t/>
            </a:r>
            <a:br>
              <a:rPr lang="cs-CZ" sz="1400" b="1" smtClean="0">
                <a:solidFill>
                  <a:schemeClr val="tx1"/>
                </a:solidFill>
                <a:cs typeface="Arial"/>
              </a:rPr>
            </a:br>
            <a:r>
              <a:rPr lang="cs-CZ" sz="1400" b="1" smtClean="0">
                <a:solidFill>
                  <a:schemeClr val="tx1"/>
                </a:solidFill>
                <a:cs typeface="Arial"/>
              </a:rPr>
              <a:t>nových </a:t>
            </a:r>
            <a:r>
              <a:rPr lang="cs-CZ" sz="1400" b="1" dirty="0" smtClean="0">
                <a:solidFill>
                  <a:schemeClr val="tx1"/>
                </a:solidFill>
                <a:cs typeface="Arial"/>
              </a:rPr>
              <a:t>spuštění</a:t>
            </a:r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544" name="Rectangle 22543"/>
          <p:cNvSpPr/>
          <p:nvPr>
            <p:custDataLst>
              <p:tags r:id="rId10"/>
            </p:custDataLst>
          </p:nvPr>
        </p:nvSpPr>
        <p:spPr bwMode="auto">
          <a:xfrm>
            <a:off x="3878263" y="4941888"/>
            <a:ext cx="1447800" cy="38417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cs-CZ" sz="1400" b="1" dirty="0" smtClean="0">
                <a:solidFill>
                  <a:schemeClr val="tx1"/>
                </a:solidFill>
                <a:cs typeface="Arial"/>
              </a:rPr>
              <a:t>Portfolio vývoje nových produktů</a:t>
            </a:r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543" name="Rectangle 22542"/>
          <p:cNvSpPr/>
          <p:nvPr>
            <p:custDataLst>
              <p:tags r:id="rId11"/>
            </p:custDataLst>
          </p:nvPr>
        </p:nvSpPr>
        <p:spPr bwMode="auto">
          <a:xfrm>
            <a:off x="2163763" y="4941888"/>
            <a:ext cx="1419225" cy="192088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cs-CZ" sz="1400" b="1" dirty="0" smtClean="0">
                <a:solidFill>
                  <a:schemeClr val="tx1"/>
                </a:solidFill>
                <a:cs typeface="Arial"/>
              </a:rPr>
              <a:t>Portfolio nápadů</a:t>
            </a:r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542" name="Rectangle 22541"/>
          <p:cNvSpPr/>
          <p:nvPr>
            <p:custDataLst>
              <p:tags r:id="rId12"/>
            </p:custDataLst>
          </p:nvPr>
        </p:nvSpPr>
        <p:spPr bwMode="auto">
          <a:xfrm>
            <a:off x="500063" y="4941888"/>
            <a:ext cx="1290638" cy="38417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cs-CZ" sz="1400" b="1" dirty="0" smtClean="0">
                <a:solidFill>
                  <a:schemeClr val="tx1"/>
                </a:solidFill>
                <a:cs typeface="Arial"/>
              </a:rPr>
              <a:t>Směry pro hledání inovací</a:t>
            </a:r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550" name="Rectangle 22549"/>
          <p:cNvSpPr/>
          <p:nvPr>
            <p:custDataLst>
              <p:tags r:id="rId13"/>
            </p:custDataLst>
          </p:nvPr>
        </p:nvSpPr>
        <p:spPr bwMode="auto">
          <a:xfrm>
            <a:off x="1905000" y="6376988"/>
            <a:ext cx="179388" cy="133350"/>
          </a:xfrm>
          <a:prstGeom prst="rect">
            <a:avLst/>
          </a:prstGeom>
          <a:solidFill>
            <a:srgbClr val="778242"/>
          </a:solidFill>
          <a:ln w="9525" cap="flat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549" name="Rectangle 22548"/>
          <p:cNvSpPr/>
          <p:nvPr>
            <p:custDataLst>
              <p:tags r:id="rId14"/>
            </p:custDataLst>
          </p:nvPr>
        </p:nvSpPr>
        <p:spPr bwMode="auto">
          <a:xfrm>
            <a:off x="234950" y="6376988"/>
            <a:ext cx="179388" cy="133350"/>
          </a:xfrm>
          <a:prstGeom prst="rect">
            <a:avLst/>
          </a:prstGeom>
          <a:solidFill>
            <a:srgbClr val="9B1717"/>
          </a:solidFill>
          <a:ln w="9525" cap="flat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546" name="Rectangle 22545"/>
          <p:cNvSpPr/>
          <p:nvPr>
            <p:custDataLst>
              <p:tags r:id="rId15"/>
            </p:custDataLst>
          </p:nvPr>
        </p:nvSpPr>
        <p:spPr bwMode="auto">
          <a:xfrm>
            <a:off x="2135188" y="6373813"/>
            <a:ext cx="1466850" cy="13652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94065A5-111D-4497-A75D-1FBEC9E44770}" type="datetime'''''Pr''''ůmě''r'''''' úča''stník''ů'' ''''sou''t''ě''''že'">
              <a:rPr lang="en-US" sz="1000">
                <a:solidFill>
                  <a:schemeClr val="tx1"/>
                </a:solidFill>
                <a:cs typeface="Arial"/>
              </a:rPr>
              <a:pPr/>
              <a:t>Průměr účastníků soutěže</a:t>
            </a:fld>
            <a:endParaRPr lang="cs-CZ" sz="10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545" name="Rectangle 22544"/>
          <p:cNvSpPr/>
          <p:nvPr>
            <p:custDataLst>
              <p:tags r:id="rId16"/>
            </p:custDataLst>
          </p:nvPr>
        </p:nvSpPr>
        <p:spPr bwMode="auto">
          <a:xfrm>
            <a:off x="465138" y="6373813"/>
            <a:ext cx="1338263" cy="13652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D14372A-0F9A-4D3B-87FC-4AEAEE18B658}" type="datetime'V''ítě''zo''''vé B''''e''s''''''t ''''In''n''''''ova''''t''or'">
              <a:rPr lang="cs-CZ" sz="1000" smtClean="0">
                <a:solidFill>
                  <a:schemeClr val="tx1"/>
                </a:solidFill>
                <a:cs typeface="Arial"/>
              </a:rPr>
              <a:pPr/>
              <a:t>Vítězové Best Innovator</a:t>
            </a:fld>
            <a:endParaRPr lang="cs-CZ" sz="10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9" name="Picture 5" descr="Best Innovator klein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458522" y="1444625"/>
            <a:ext cx="36195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>
            <p:custDataLst>
              <p:tags r:id="rId18"/>
            </p:custDataLst>
          </p:nvPr>
        </p:nvSpPr>
        <p:spPr>
          <a:xfrm>
            <a:off x="7621358" y="139700"/>
            <a:ext cx="1271182" cy="1661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200" dirty="0" smtClean="0">
                <a:latin typeface="Arial"/>
              </a:rPr>
              <a:t>Faktor úspěchu </a:t>
            </a:r>
            <a:r>
              <a:rPr lang="en-US" sz="1200" dirty="0" smtClean="0">
                <a:latin typeface="Arial"/>
              </a:rPr>
              <a:t>#</a:t>
            </a:r>
            <a:r>
              <a:rPr lang="cs-CZ" sz="1200" dirty="0" smtClean="0">
                <a:latin typeface="Arial"/>
              </a:rPr>
              <a:t>5</a:t>
            </a:r>
            <a:endParaRPr lang="cs-CZ" sz="1200" dirty="0" smtClean="0">
              <a:latin typeface="Arial"/>
            </a:endParaRPr>
          </a:p>
        </p:txBody>
      </p:sp>
      <p:sp>
        <p:nvSpPr>
          <p:cNvPr id="2" name="TextBox 1"/>
          <p:cNvSpPr txBox="1"/>
          <p:nvPr>
            <p:custDataLst>
              <p:tags r:id="rId19"/>
            </p:custDataLst>
          </p:nvPr>
        </p:nvSpPr>
        <p:spPr>
          <a:xfrm>
            <a:off x="0" y="5660390"/>
            <a:ext cx="9144000" cy="683260"/>
          </a:xfrm>
          <a:prstGeom prst="rect">
            <a:avLst/>
          </a:prstGeom>
          <a:solidFill>
            <a:schemeClr val="bg2"/>
          </a:solidFill>
          <a:ln w="6350" cap="flat">
            <a:noFill/>
            <a:miter lim="800000"/>
          </a:ln>
          <a:extLs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vert="horz" wrap="square" lIns="252476" tIns="76200" rIns="252476" bIns="76200" rtlCol="0" anchor="ctr" anchorCtr="0">
            <a:no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cs-CZ" b="1" dirty="0" smtClean="0">
                <a:solidFill>
                  <a:schemeClr val="bg1"/>
                </a:solidFill>
                <a:latin typeface="Arial"/>
                <a:cs typeface="Arial"/>
              </a:rPr>
              <a:t>Konzistentní využití KPI je důležitou součástí v průběhu celého životního cyklu inovací</a:t>
            </a:r>
          </a:p>
        </p:txBody>
      </p:sp>
      <p:sp>
        <p:nvSpPr>
          <p:cNvPr id="21" name="Rectangle 20"/>
          <p:cNvSpPr/>
          <p:nvPr>
            <p:custDataLst>
              <p:tags r:id="rId20"/>
            </p:custDataLst>
          </p:nvPr>
        </p:nvSpPr>
        <p:spPr bwMode="gray">
          <a:xfrm>
            <a:off x="245110" y="6368288"/>
            <a:ext cx="6400800" cy="368300"/>
          </a:xfrm>
          <a:prstGeom prst="rect">
            <a:avLst/>
          </a:prstGeom>
          <a:noFill/>
          <a:ln w="6350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rnd" cmpd="sng" algn="ctr">
                <a:solidFill>
                  <a:srgbClr val="ADABA1"/>
                </a:solidFill>
                <a:prstDash val="solid"/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b" anchorCtr="0">
            <a:noAutofit/>
          </a:bodyPr>
          <a:lstStyle/>
          <a:p>
            <a:pPr marL="137160" indent="-137160">
              <a:lnSpc>
                <a:spcPct val="90000"/>
              </a:lnSpc>
              <a:buFontTx/>
              <a:buAutoNum type="arabicPeriod"/>
              <a:defRPr/>
            </a:pPr>
            <a:endParaRPr lang="cs-CZ" sz="8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37160" indent="-137160">
              <a:lnSpc>
                <a:spcPct val="90000"/>
              </a:lnSpc>
              <a:buFontTx/>
              <a:buAutoNum type="arabicPeriod"/>
              <a:defRPr/>
            </a:pPr>
            <a:endParaRPr lang="cs-CZ" sz="8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37160" indent="-137160">
              <a:lnSpc>
                <a:spcPct val="90000"/>
              </a:lnSpc>
              <a:defRPr/>
            </a:pPr>
            <a:r>
              <a:rPr lang="cs-CZ" sz="800" dirty="0" smtClean="0">
                <a:solidFill>
                  <a:schemeClr val="tx1"/>
                </a:solidFill>
                <a:latin typeface="Arial"/>
                <a:cs typeface="Arial" pitchFamily="34" charset="0"/>
              </a:rPr>
              <a:t>Zdroj: A.T. Kearney Best Innovator 2012</a:t>
            </a:r>
            <a:endParaRPr lang="cs-CZ" sz="800" dirty="0">
              <a:solidFill>
                <a:schemeClr val="tx1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6725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36"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244800" y="804672"/>
            <a:ext cx="8640000" cy="664797"/>
          </a:xfrm>
        </p:spPr>
        <p:txBody>
          <a:bodyPr/>
          <a:lstStyle/>
          <a:p>
            <a:r>
              <a:rPr lang="cs-CZ" dirty="0" smtClean="0"/>
              <a:t>A.T. Kearney se systematicky věnuje vyhodnocování nejlepších praxí v řízení inovací </a:t>
            </a:r>
            <a:r>
              <a:rPr lang="en-US" dirty="0" err="1" smtClean="0"/>
              <a:t>ji</a:t>
            </a:r>
            <a:r>
              <a:rPr lang="cs-CZ" dirty="0" smtClean="0"/>
              <a:t>ž</a:t>
            </a:r>
            <a:r>
              <a:rPr lang="en-US" dirty="0" smtClean="0"/>
              <a:t> </a:t>
            </a:r>
            <a:r>
              <a:rPr lang="cs-CZ" dirty="0" smtClean="0"/>
              <a:t>od </a:t>
            </a:r>
            <a:r>
              <a:rPr lang="cs-CZ" dirty="0" smtClean="0"/>
              <a:t>roku 2003</a:t>
            </a:r>
          </a:p>
        </p:txBody>
      </p:sp>
      <p:sp>
        <p:nvSpPr>
          <p:cNvPr id="10245" name="TextBox 19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5110" y="6368288"/>
            <a:ext cx="6400800" cy="3683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marL="137160" indent="-137160">
              <a:lnSpc>
                <a:spcPct val="90000"/>
              </a:lnSpc>
              <a:buFontTx/>
              <a:buAutoNum type="arabicPeriod"/>
            </a:pPr>
            <a:endParaRPr lang="cs-CZ" sz="800" dirty="0" smtClean="0">
              <a:latin typeface="Arial"/>
            </a:endParaRPr>
          </a:p>
          <a:p>
            <a:pPr marL="137160" indent="-137160">
              <a:lnSpc>
                <a:spcPct val="90000"/>
              </a:lnSpc>
              <a:buFontTx/>
              <a:buAutoNum type="arabicPeriod"/>
            </a:pPr>
            <a:endParaRPr lang="cs-CZ" sz="800" dirty="0" smtClean="0">
              <a:latin typeface="Arial"/>
            </a:endParaRPr>
          </a:p>
          <a:p>
            <a:pPr marL="137160" indent="-137160">
              <a:lnSpc>
                <a:spcPct val="90000"/>
              </a:lnSpc>
            </a:pPr>
            <a:r>
              <a:rPr lang="cs-CZ" sz="800" dirty="0" smtClean="0">
                <a:latin typeface="Arial"/>
              </a:rPr>
              <a:t>Zdroj: A.T. Kearney</a:t>
            </a:r>
            <a:endParaRPr lang="cs-CZ" sz="800" dirty="0">
              <a:latin typeface="Arial"/>
            </a:endParaRPr>
          </a:p>
        </p:txBody>
      </p:sp>
      <p:sp>
        <p:nvSpPr>
          <p:cNvPr id="10246" name="Rectangle 2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5660390"/>
            <a:ext cx="9144000" cy="683260"/>
          </a:xfrm>
          <a:prstGeom prst="rect">
            <a:avLst/>
          </a:prstGeom>
          <a:solidFill>
            <a:schemeClr val="bg2"/>
          </a:solidFill>
          <a:ln w="6350" algn="ctr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round/>
                <a:headEnd/>
                <a:tailEnd/>
              </a14:hiddenLine>
            </a:ext>
          </a:extLst>
        </p:spPr>
        <p:txBody>
          <a:bodyPr wrap="square" lIns="252476" tIns="76200" rIns="252476" bIns="7620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cs-CZ" sz="1600" b="1" dirty="0" smtClean="0">
                <a:solidFill>
                  <a:schemeClr val="bg1"/>
                </a:solidFill>
                <a:latin typeface="Arial"/>
              </a:rPr>
              <a:t> Best Innovator: </a:t>
            </a:r>
            <a:r>
              <a:rPr lang="cs-CZ" sz="1600" b="1" dirty="0" smtClean="0">
                <a:solidFill>
                  <a:schemeClr val="bg1"/>
                </a:solidFill>
                <a:latin typeface="Arial"/>
              </a:rPr>
              <a:t>17 </a:t>
            </a:r>
            <a:r>
              <a:rPr lang="cs-CZ" sz="1600" b="1" dirty="0" smtClean="0">
                <a:solidFill>
                  <a:schemeClr val="bg1"/>
                </a:solidFill>
                <a:latin typeface="Arial"/>
              </a:rPr>
              <a:t>zemí, &gt;1,500 účastníků od roku 2003 (www.best-innovator.com)</a:t>
            </a:r>
          </a:p>
          <a:p>
            <a:pPr>
              <a:lnSpc>
                <a:spcPct val="90000"/>
              </a:lnSpc>
            </a:pPr>
            <a:r>
              <a:rPr lang="cs-CZ" sz="1600" b="1" dirty="0" smtClean="0">
                <a:solidFill>
                  <a:schemeClr val="bg1"/>
                </a:solidFill>
                <a:latin typeface="Arial"/>
              </a:rPr>
              <a:t> IMP</a:t>
            </a:r>
            <a:r>
              <a:rPr lang="cs-CZ" sz="1600" b="1" baseline="30000" dirty="0" smtClean="0">
                <a:solidFill>
                  <a:schemeClr val="bg1"/>
                </a:solidFill>
                <a:latin typeface="Arial"/>
              </a:rPr>
              <a:t>3</a:t>
            </a:r>
            <a:r>
              <a:rPr lang="cs-CZ" sz="1600" b="1" dirty="0" smtClean="0">
                <a:solidFill>
                  <a:schemeClr val="bg1"/>
                </a:solidFill>
                <a:latin typeface="Arial"/>
              </a:rPr>
              <a:t>rove iniciativa: &gt;3,000 SME uživatelů platformy (www.improve-innovation.eu)</a:t>
            </a:r>
            <a:endParaRPr lang="cs-CZ" sz="16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0248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44475" y="1628140"/>
            <a:ext cx="6842760" cy="2492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buClr>
                <a:srgbClr val="7D0900"/>
              </a:buClr>
            </a:pPr>
            <a:r>
              <a:rPr lang="cs-CZ" b="1" dirty="0" smtClean="0">
                <a:latin typeface="Arial"/>
              </a:rPr>
              <a:t>A.T. </a:t>
            </a:r>
            <a:r>
              <a:rPr lang="cs-CZ" b="1" dirty="0" err="1" smtClean="0">
                <a:latin typeface="Arial"/>
              </a:rPr>
              <a:t>Kearney</a:t>
            </a:r>
            <a:r>
              <a:rPr lang="cs-CZ" b="1" dirty="0" smtClean="0">
                <a:latin typeface="Arial"/>
              </a:rPr>
              <a:t> renomé </a:t>
            </a:r>
            <a:r>
              <a:rPr lang="cs-CZ" b="1" dirty="0" smtClean="0">
                <a:latin typeface="Arial"/>
              </a:rPr>
              <a:t>v </a:t>
            </a:r>
            <a:r>
              <a:rPr lang="cs-CZ" b="1" dirty="0" smtClean="0">
                <a:latin typeface="Arial"/>
              </a:rPr>
              <a:t>oblasti </a:t>
            </a:r>
            <a:r>
              <a:rPr lang="cs-CZ" b="1" dirty="0" smtClean="0">
                <a:latin typeface="Arial"/>
              </a:rPr>
              <a:t>inovací</a:t>
            </a:r>
            <a:endParaRPr lang="cs-CZ" b="1" dirty="0">
              <a:latin typeface="Arial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51520" y="2096852"/>
            <a:ext cx="3951288" cy="3181350"/>
            <a:chOff x="251520" y="2096852"/>
            <a:chExt cx="3951288" cy="3181350"/>
          </a:xfrm>
        </p:grpSpPr>
        <p:grpSp>
          <p:nvGrpSpPr>
            <p:cNvPr id="4" name="Group 5"/>
            <p:cNvGrpSpPr>
              <a:grpSpLocks/>
            </p:cNvGrpSpPr>
            <p:nvPr/>
          </p:nvGrpSpPr>
          <p:grpSpPr bwMode="auto">
            <a:xfrm>
              <a:off x="251520" y="2096852"/>
              <a:ext cx="3951288" cy="3181350"/>
              <a:chOff x="475529" y="2081498"/>
              <a:chExt cx="3952455" cy="3180434"/>
            </a:xfrm>
          </p:grpSpPr>
          <p:pic>
            <p:nvPicPr>
              <p:cNvPr id="10250" name="Picture 34"/>
              <p:cNvPicPr>
                <a:picLocks noChangeAspect="1" noChangeArrowheads="1"/>
              </p:cNvPicPr>
              <p:nvPr>
                <p:custDataLst>
                  <p:tags r:id="rId10"/>
                </p:custDataLst>
              </p:nvPr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1583418" y="3825044"/>
                <a:ext cx="1422479" cy="1436888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</p:pic>
          <p:pic>
            <p:nvPicPr>
              <p:cNvPr id="10251" name="Picture 5"/>
              <p:cNvPicPr>
                <a:picLocks noChangeAspect="1" noChangeArrowheads="1"/>
              </p:cNvPicPr>
              <p:nvPr>
                <p:custDataLst>
                  <p:tags r:id="rId11"/>
                </p:custDataLst>
              </p:nvPr>
            </p:nvPicPr>
            <p:blipFill>
              <a:blip r:embed="rId17" cstate="print"/>
              <a:srcRect l="8658" t="3258" r="7027" b="9473"/>
              <a:stretch>
                <a:fillRect/>
              </a:stretch>
            </p:blipFill>
            <p:spPr bwMode="auto">
              <a:xfrm>
                <a:off x="3023827" y="2081498"/>
                <a:ext cx="1404157" cy="2340261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</p:pic>
          <p:pic>
            <p:nvPicPr>
              <p:cNvPr id="10252" name="Picture 5" descr="Best Innovator klein"/>
              <p:cNvPicPr>
                <a:picLocks noChangeAspect="1" noChangeArrowheads="1"/>
              </p:cNvPicPr>
              <p:nvPr>
                <p:custDataLst>
                  <p:tags r:id="rId12"/>
                </p:custDataLst>
              </p:nvPr>
            </p:nvPicPr>
            <p:blipFill>
              <a:blip r:embed="rId18" cstate="print"/>
              <a:srcRect l="2" r="-22630"/>
              <a:stretch>
                <a:fillRect/>
              </a:stretch>
            </p:blipFill>
            <p:spPr bwMode="auto">
              <a:xfrm>
                <a:off x="475529" y="2081498"/>
                <a:ext cx="1501053" cy="19655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9" name="Rectangle 18"/>
            <p:cNvSpPr/>
            <p:nvPr/>
          </p:nvSpPr>
          <p:spPr>
            <a:xfrm>
              <a:off x="2692549" y="3512824"/>
              <a:ext cx="1134081" cy="188913"/>
            </a:xfrm>
            <a:prstGeom prst="rect">
              <a:avLst/>
            </a:prstGeom>
            <a:solidFill>
              <a:schemeClr val="bg1"/>
            </a:solidFill>
            <a:ln w="1270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rgbClr val="9B1717"/>
                </a:buClr>
              </a:pPr>
              <a:endParaRPr lang="en-US" sz="14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20" name="Group 16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4932364" y="2393341"/>
            <a:ext cx="1625821" cy="2570360"/>
            <a:chOff x="2051720" y="836712"/>
            <a:chExt cx="3096344" cy="4744734"/>
          </a:xfrm>
        </p:grpSpPr>
        <p:pic>
          <p:nvPicPr>
            <p:cNvPr id="21" name="Picture 8"/>
            <p:cNvPicPr>
              <a:picLocks noChangeAspect="1" noChangeArrowheads="1"/>
            </p:cNvPicPr>
            <p:nvPr/>
          </p:nvPicPr>
          <p:blipFill>
            <a:blip r:embed="rId19" cstate="print"/>
            <a:srcRect l="24161" t="14563" r="44093" b="20576"/>
            <a:stretch>
              <a:fillRect/>
            </a:stretch>
          </p:blipFill>
          <p:spPr bwMode="auto">
            <a:xfrm>
              <a:off x="2051720" y="836712"/>
              <a:ext cx="3096344" cy="47447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15" rotWithShape="0">
                <a:schemeClr val="tx1">
                  <a:alpha val="40000"/>
                </a:schemeClr>
              </a:outerShdw>
            </a:effectLst>
          </p:spPr>
        </p:pic>
        <p:sp>
          <p:nvSpPr>
            <p:cNvPr id="22" name="Rectangle 21"/>
            <p:cNvSpPr/>
            <p:nvPr/>
          </p:nvSpPr>
          <p:spPr>
            <a:xfrm>
              <a:off x="2196216" y="5265553"/>
              <a:ext cx="1440197" cy="215886"/>
            </a:xfrm>
            <a:prstGeom prst="rect">
              <a:avLst/>
            </a:prstGeom>
            <a:noFill/>
            <a:ln w="31750" cap="rnd">
              <a:noFill/>
              <a:prstDash val="dash"/>
            </a:ln>
            <a:effectLst>
              <a:outerShdw blurRad="50800" dist="38100" dir="2700015" rotWithShape="0">
                <a:schemeClr val="tx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rgbClr val="9B1717"/>
                </a:buClr>
                <a:defRPr/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23" name="Group 12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6047094" y="2370123"/>
            <a:ext cx="2798914" cy="1723319"/>
            <a:chOff x="2843213" y="2312988"/>
            <a:chExt cx="5329237" cy="3182424"/>
          </a:xfrm>
        </p:grpSpPr>
        <p:pic>
          <p:nvPicPr>
            <p:cNvPr id="24" name="Picture 6"/>
            <p:cNvPicPr>
              <a:picLocks noChangeAspect="1" noChangeArrowheads="1"/>
            </p:cNvPicPr>
            <p:nvPr/>
          </p:nvPicPr>
          <p:blipFill>
            <a:blip r:embed="rId20" cstate="print"/>
            <a:srcRect l="2507" t="14883" r="2298" b="9321"/>
            <a:stretch>
              <a:fillRect/>
            </a:stretch>
          </p:blipFill>
          <p:spPr bwMode="auto">
            <a:xfrm>
              <a:off x="2843213" y="2312988"/>
              <a:ext cx="5329237" cy="31824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15" rotWithShape="0">
                <a:schemeClr val="tx1">
                  <a:alpha val="40000"/>
                </a:schemeClr>
              </a:outerShdw>
            </a:effectLst>
          </p:spPr>
        </p:pic>
        <p:sp>
          <p:nvSpPr>
            <p:cNvPr id="25" name="Rectangle 24"/>
            <p:cNvSpPr/>
            <p:nvPr/>
          </p:nvSpPr>
          <p:spPr>
            <a:xfrm>
              <a:off x="6696075" y="4941187"/>
              <a:ext cx="1439862" cy="215973"/>
            </a:xfrm>
            <a:prstGeom prst="rect">
              <a:avLst/>
            </a:prstGeom>
            <a:noFill/>
            <a:ln w="31750" cap="rnd">
              <a:noFill/>
              <a:prstDash val="dash"/>
            </a:ln>
            <a:effectLst>
              <a:outerShdw blurRad="50800" dist="38100" dir="2700015" rotWithShape="0">
                <a:schemeClr val="tx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rgbClr val="9B1717"/>
                </a:buClr>
                <a:defRPr/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26" name="Group 1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6378096" y="3176972"/>
            <a:ext cx="2262356" cy="1774915"/>
            <a:chOff x="1691624" y="2241178"/>
            <a:chExt cx="6303009" cy="5443301"/>
          </a:xfrm>
        </p:grpSpPr>
        <p:pic>
          <p:nvPicPr>
            <p:cNvPr id="27" name="Picture 7"/>
            <p:cNvPicPr>
              <a:picLocks noChangeAspect="1" noChangeArrowheads="1"/>
            </p:cNvPicPr>
            <p:nvPr/>
          </p:nvPicPr>
          <p:blipFill>
            <a:blip r:embed="rId21" cstate="print"/>
            <a:srcRect l="2506" t="17253" r="41313" b="8337"/>
            <a:stretch>
              <a:fillRect/>
            </a:stretch>
          </p:blipFill>
          <p:spPr bwMode="auto">
            <a:xfrm>
              <a:off x="2514979" y="2241178"/>
              <a:ext cx="5479654" cy="54433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15" rotWithShape="0">
                <a:schemeClr val="tx1">
                  <a:alpha val="40000"/>
                </a:schemeClr>
              </a:outerShdw>
            </a:effectLst>
          </p:spPr>
        </p:pic>
        <p:sp>
          <p:nvSpPr>
            <p:cNvPr id="28" name="Rectangle 27"/>
            <p:cNvSpPr/>
            <p:nvPr/>
          </p:nvSpPr>
          <p:spPr>
            <a:xfrm>
              <a:off x="1691624" y="6452187"/>
              <a:ext cx="1440180" cy="216255"/>
            </a:xfrm>
            <a:prstGeom prst="rect">
              <a:avLst/>
            </a:prstGeom>
            <a:noFill/>
            <a:ln w="31750" cap="rnd">
              <a:noFill/>
              <a:prstDash val="dash"/>
            </a:ln>
            <a:effectLst>
              <a:outerShdw blurRad="50800" dist="38100" dir="2700015" rotWithShape="0">
                <a:schemeClr val="tx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rgbClr val="9B1717"/>
                </a:buClr>
                <a:defRPr/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30" name="Rectangle 6"/>
          <p:cNvSpPr>
            <a:spLocks noChangeArrowheads="1"/>
          </p:cNvSpPr>
          <p:nvPr/>
        </p:nvSpPr>
        <p:spPr bwMode="gray">
          <a:xfrm>
            <a:off x="4932363" y="2057400"/>
            <a:ext cx="3900064" cy="2215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Ctr="0">
            <a:spAutoFit/>
          </a:bodyPr>
          <a:lstStyle/>
          <a:p>
            <a:pPr>
              <a:lnSpc>
                <a:spcPct val="90000"/>
              </a:lnSpc>
              <a:buClr>
                <a:srgbClr val="7D0900"/>
              </a:buClr>
            </a:pPr>
            <a:r>
              <a:rPr lang="cs-CZ" sz="1600" b="1" dirty="0" smtClean="0">
                <a:solidFill>
                  <a:srgbClr val="000000"/>
                </a:solidFill>
              </a:rPr>
              <a:t>Světově uznávané výsledky …</a:t>
            </a:r>
            <a:endParaRPr lang="cs-CZ" sz="1600" b="1" dirty="0">
              <a:solidFill>
                <a:srgbClr val="000000"/>
              </a:solidFill>
            </a:endParaRPr>
          </a:p>
        </p:txBody>
      </p:sp>
      <p:sp>
        <p:nvSpPr>
          <p:cNvPr id="31" name="Rectangle 6"/>
          <p:cNvSpPr>
            <a:spLocks noChangeArrowheads="1"/>
          </p:cNvSpPr>
          <p:nvPr/>
        </p:nvSpPr>
        <p:spPr bwMode="gray">
          <a:xfrm>
            <a:off x="4932363" y="5085184"/>
            <a:ext cx="3900064" cy="3323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buClr>
                <a:srgbClr val="7D0900"/>
              </a:buClr>
            </a:pPr>
            <a:r>
              <a:rPr lang="cs-CZ" sz="1200" dirty="0" smtClean="0">
                <a:solidFill>
                  <a:srgbClr val="000000"/>
                </a:solidFill>
              </a:rPr>
              <a:t>Vybrané tiskové zprávy o vítězi jedné z kategorii v roce 2011 – 3M</a:t>
            </a:r>
            <a:endParaRPr lang="cs-CZ" sz="1200" dirty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926682" y="139700"/>
            <a:ext cx="1965858" cy="1661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200" dirty="0" smtClean="0">
                <a:latin typeface="Arial"/>
              </a:rPr>
              <a:t>A.T. Kearney a řízení inovací</a:t>
            </a:r>
          </a:p>
        </p:txBody>
      </p:sp>
    </p:spTree>
    <p:extLst>
      <p:ext uri="{BB962C8B-B14F-4D97-AF65-F5344CB8AC3E}">
        <p14:creationId xmlns:p14="http://schemas.microsoft.com/office/powerpoint/2010/main" val="495396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81" name="think-cell Slide" r:id="rId110" imgW="270" imgH="270" progId="TCLayout.ActiveDocument.1">
                  <p:embed/>
                </p:oleObj>
              </mc:Choice>
              <mc:Fallback>
                <p:oleObj name="think-cell Slide" r:id="rId1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196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44475" y="804863"/>
            <a:ext cx="8640763" cy="664797"/>
          </a:xfrm>
        </p:spPr>
        <p:txBody>
          <a:bodyPr/>
          <a:lstStyle/>
          <a:p>
            <a:pPr marL="358775"/>
            <a:r>
              <a:rPr lang="cs-CZ" dirty="0" smtClean="0"/>
              <a:t>Lídři v inovacích nekompromisně řídí 	své portfolio inovací </a:t>
            </a: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za </a:t>
            </a:r>
            <a:r>
              <a:rPr lang="cs-CZ" dirty="0" smtClean="0"/>
              <a:t>pomocí vybraných </a:t>
            </a:r>
            <a:r>
              <a:rPr lang="cs-CZ" dirty="0" err="1" smtClean="0"/>
              <a:t>KPIs</a:t>
            </a:r>
            <a:r>
              <a:rPr lang="cs-CZ" dirty="0" smtClean="0"/>
              <a:t> umožňující </a:t>
            </a:r>
            <a:r>
              <a:rPr lang="cs-CZ" dirty="0" smtClean="0"/>
              <a:t>jejich třídění</a:t>
            </a:r>
          </a:p>
        </p:txBody>
      </p:sp>
      <p:sp>
        <p:nvSpPr>
          <p:cNvPr id="8197" name="TextBox 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4475" y="1628140"/>
            <a:ext cx="6842760" cy="249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bg2"/>
              </a:buClr>
            </a:pPr>
            <a:r>
              <a:rPr lang="cs-CZ" b="1" dirty="0" smtClean="0">
                <a:latin typeface="Arial"/>
              </a:rPr>
              <a:t>Postup při třídění inovačních iniciativ</a:t>
            </a:r>
            <a:endParaRPr lang="cs-CZ" b="1" dirty="0">
              <a:latin typeface="Arial"/>
            </a:endParaRPr>
          </a:p>
        </p:txBody>
      </p:sp>
      <p:sp>
        <p:nvSpPr>
          <p:cNvPr id="6" name="Pentagon 5"/>
          <p:cNvSpPr/>
          <p:nvPr>
            <p:custDataLst>
              <p:tags r:id="rId6"/>
            </p:custDataLst>
          </p:nvPr>
        </p:nvSpPr>
        <p:spPr>
          <a:xfrm>
            <a:off x="6604000" y="2057400"/>
            <a:ext cx="2289175" cy="4295775"/>
          </a:xfrm>
          <a:prstGeom prst="homePlate">
            <a:avLst>
              <a:gd name="adj" fmla="val 8607"/>
            </a:avLst>
          </a:prstGeom>
          <a:solidFill>
            <a:schemeClr val="accent2"/>
          </a:solidFill>
          <a:ln w="6350" cap="rnd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6350" cap="rnd" cmpd="sng" algn="ctr">
                <a:solidFill>
                  <a:srgbClr val="ADABA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1200"/>
              </a:spcBef>
              <a:defRPr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Pentagon 6"/>
          <p:cNvSpPr/>
          <p:nvPr>
            <p:custDataLst>
              <p:tags r:id="rId7"/>
            </p:custDataLst>
          </p:nvPr>
        </p:nvSpPr>
        <p:spPr>
          <a:xfrm>
            <a:off x="244475" y="2057400"/>
            <a:ext cx="2303463" cy="4295775"/>
          </a:xfrm>
          <a:prstGeom prst="homePlate">
            <a:avLst>
              <a:gd name="adj" fmla="val 9251"/>
            </a:avLst>
          </a:prstGeom>
          <a:solidFill>
            <a:schemeClr val="accent2"/>
          </a:solidFill>
          <a:ln w="6350" cap="rnd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6350" cap="rnd" cmpd="sng" algn="ctr">
                <a:solidFill>
                  <a:srgbClr val="ADABA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1200"/>
              </a:spcBef>
              <a:defRPr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Pentagon 7"/>
          <p:cNvSpPr/>
          <p:nvPr>
            <p:custDataLst>
              <p:tags r:id="rId8"/>
            </p:custDataLst>
          </p:nvPr>
        </p:nvSpPr>
        <p:spPr>
          <a:xfrm>
            <a:off x="4917016" y="2055813"/>
            <a:ext cx="1543050" cy="4295775"/>
          </a:xfrm>
          <a:prstGeom prst="homePlate">
            <a:avLst>
              <a:gd name="adj" fmla="val 13662"/>
            </a:avLst>
          </a:prstGeom>
          <a:solidFill>
            <a:schemeClr val="accent2"/>
          </a:solidFill>
          <a:ln w="6350" cap="rnd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6350" cap="rnd" cmpd="sng" algn="ctr">
                <a:solidFill>
                  <a:srgbClr val="ADABA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1200"/>
              </a:spcBef>
              <a:defRPr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Pentagon 8"/>
          <p:cNvSpPr/>
          <p:nvPr>
            <p:custDataLst>
              <p:tags r:id="rId9"/>
            </p:custDataLst>
          </p:nvPr>
        </p:nvSpPr>
        <p:spPr>
          <a:xfrm>
            <a:off x="2691871" y="2055813"/>
            <a:ext cx="2081212" cy="4295775"/>
          </a:xfrm>
          <a:prstGeom prst="homePlate">
            <a:avLst>
              <a:gd name="adj" fmla="val 10001"/>
            </a:avLst>
          </a:prstGeom>
          <a:solidFill>
            <a:schemeClr val="accent2"/>
          </a:solidFill>
          <a:ln w="6350" cap="rnd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6350" cap="rnd" cmpd="sng" algn="ctr">
                <a:solidFill>
                  <a:srgbClr val="ADABA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1200"/>
              </a:spcBef>
              <a:defRPr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202" name="TextBox 38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726238" y="2125663"/>
            <a:ext cx="1990725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cs-CZ" sz="1400" b="1" dirty="0" smtClean="0">
                <a:solidFill>
                  <a:srgbClr val="000000"/>
                </a:solidFill>
              </a:rPr>
              <a:t>Identifikace kandidátů pro vyřazení</a:t>
            </a:r>
            <a:endParaRPr lang="cs-CZ" sz="1400" dirty="0">
              <a:solidFill>
                <a:srgbClr val="000000"/>
              </a:solidFill>
            </a:endParaRPr>
          </a:p>
        </p:txBody>
      </p:sp>
      <p:sp>
        <p:nvSpPr>
          <p:cNvPr id="8203" name="TextBox 38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54013" y="2125663"/>
            <a:ext cx="1709737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cs-CZ" sz="1400" b="1" dirty="0" smtClean="0">
                <a:solidFill>
                  <a:srgbClr val="000000"/>
                </a:solidFill>
              </a:rPr>
              <a:t>Vytvoření hlavního seznamu projektů</a:t>
            </a:r>
            <a:endParaRPr lang="cs-CZ" sz="1400" b="1" dirty="0">
              <a:solidFill>
                <a:srgbClr val="000000"/>
              </a:solidFill>
            </a:endParaRPr>
          </a:p>
        </p:txBody>
      </p:sp>
      <p:sp>
        <p:nvSpPr>
          <p:cNvPr id="8204" name="TextBox 38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843213" y="2125663"/>
            <a:ext cx="1671637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cs-CZ" sz="1400" b="1" dirty="0" smtClean="0">
                <a:solidFill>
                  <a:srgbClr val="000000"/>
                </a:solidFill>
              </a:rPr>
              <a:t>Výpočet</a:t>
            </a:r>
            <a:br>
              <a:rPr lang="cs-CZ" sz="1400" b="1" dirty="0" smtClean="0">
                <a:solidFill>
                  <a:srgbClr val="000000"/>
                </a:solidFill>
              </a:rPr>
            </a:br>
            <a:r>
              <a:rPr lang="cs-CZ" sz="1400" b="1" dirty="0" smtClean="0">
                <a:solidFill>
                  <a:srgbClr val="000000"/>
                </a:solidFill>
              </a:rPr>
              <a:t>KPI</a:t>
            </a:r>
            <a:endParaRPr lang="cs-CZ" sz="1400" b="1" dirty="0">
              <a:solidFill>
                <a:srgbClr val="000000"/>
              </a:solidFill>
            </a:endParaRPr>
          </a:p>
        </p:txBody>
      </p:sp>
      <p:sp>
        <p:nvSpPr>
          <p:cNvPr id="8205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813050" y="3392488"/>
            <a:ext cx="1690688" cy="431800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endParaRPr lang="en-US" dirty="0"/>
          </a:p>
        </p:txBody>
      </p:sp>
      <p:sp>
        <p:nvSpPr>
          <p:cNvPr id="8206" name="Rectangle 12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813050" y="3249613"/>
            <a:ext cx="1690688" cy="144463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130" tIns="47565" rIns="95130" bIns="47565" anchor="ctr"/>
          <a:lstStyle/>
          <a:p>
            <a:pPr defTabSz="931863"/>
            <a:r>
              <a:rPr lang="cs-CZ" sz="800" b="1" dirty="0" smtClean="0">
                <a:solidFill>
                  <a:schemeClr val="bg1"/>
                </a:solidFill>
              </a:rPr>
              <a:t>#2 Rozpočtová výnosnost</a:t>
            </a:r>
            <a:endParaRPr lang="cs-CZ" sz="800" b="1" dirty="0">
              <a:solidFill>
                <a:schemeClr val="bg1"/>
              </a:solidFill>
            </a:endParaRPr>
          </a:p>
        </p:txBody>
      </p:sp>
      <p:sp>
        <p:nvSpPr>
          <p:cNvPr id="8207" name="Text Box 13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772172" y="3497263"/>
            <a:ext cx="647700" cy="1778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Rozpočtová</a:t>
            </a:r>
            <a:br>
              <a:rPr lang="cs-CZ" sz="600" b="1" dirty="0" smtClean="0">
                <a:solidFill>
                  <a:srgbClr val="000000"/>
                </a:solidFill>
              </a:rPr>
            </a:br>
            <a:r>
              <a:rPr lang="cs-CZ" sz="600" b="1" dirty="0" smtClean="0">
                <a:solidFill>
                  <a:srgbClr val="000000"/>
                </a:solidFill>
              </a:rPr>
              <a:t>výnosnost</a:t>
            </a:r>
            <a:endParaRPr lang="cs-CZ" sz="600" b="1" dirty="0">
              <a:solidFill>
                <a:srgbClr val="000000"/>
              </a:solidFill>
            </a:endParaRPr>
          </a:p>
        </p:txBody>
      </p:sp>
      <p:sp>
        <p:nvSpPr>
          <p:cNvPr id="8208" name="Text Box 14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730625" y="3444875"/>
            <a:ext cx="312738" cy="1778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NPV</a:t>
            </a:r>
            <a:endParaRPr lang="cs-CZ" sz="600" b="1" dirty="0">
              <a:solidFill>
                <a:srgbClr val="FFFFFF"/>
              </a:solidFill>
            </a:endParaRPr>
          </a:p>
        </p:txBody>
      </p:sp>
      <p:sp>
        <p:nvSpPr>
          <p:cNvPr id="8209" name="Text Box 15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3495675" y="3581400"/>
            <a:ext cx="784225" cy="1778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Dostupný rozpočet</a:t>
            </a:r>
            <a:endParaRPr lang="cs-CZ" sz="600" b="1" dirty="0">
              <a:solidFill>
                <a:srgbClr val="FFFFFF"/>
              </a:solidFill>
            </a:endParaRPr>
          </a:p>
        </p:txBody>
      </p:sp>
      <p:sp>
        <p:nvSpPr>
          <p:cNvPr id="8210" name="Line 16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 flipV="1">
            <a:off x="3425825" y="3602038"/>
            <a:ext cx="92233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8211" name="Text Box 17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227276" y="3517900"/>
            <a:ext cx="228600" cy="1778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=</a:t>
            </a:r>
            <a:endParaRPr lang="cs-CZ" sz="600" b="1" dirty="0">
              <a:solidFill>
                <a:srgbClr val="000000"/>
              </a:solidFill>
            </a:endParaRPr>
          </a:p>
        </p:txBody>
      </p:sp>
      <p:sp>
        <p:nvSpPr>
          <p:cNvPr id="8212" name="Rectangle 18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813050" y="2776538"/>
            <a:ext cx="1690688" cy="431800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endParaRPr lang="en-US" dirty="0"/>
          </a:p>
        </p:txBody>
      </p:sp>
      <p:sp>
        <p:nvSpPr>
          <p:cNvPr id="8213" name="Rectangle 19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2813050" y="2633663"/>
            <a:ext cx="1690688" cy="144463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130" tIns="47565" rIns="95130" bIns="47565" anchor="ctr"/>
          <a:lstStyle/>
          <a:p>
            <a:pPr defTabSz="931863"/>
            <a:r>
              <a:rPr lang="cs-CZ" sz="800" b="1" dirty="0" smtClean="0">
                <a:solidFill>
                  <a:schemeClr val="bg1"/>
                </a:solidFill>
              </a:rPr>
              <a:t>#1 Tržní návratnost</a:t>
            </a:r>
            <a:endParaRPr lang="cs-CZ" sz="800" b="1" dirty="0">
              <a:solidFill>
                <a:schemeClr val="bg1"/>
              </a:solidFill>
            </a:endParaRPr>
          </a:p>
        </p:txBody>
      </p:sp>
      <p:sp>
        <p:nvSpPr>
          <p:cNvPr id="8214" name="Text Box 20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2811463" y="2897188"/>
            <a:ext cx="750887" cy="1778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Tržní </a:t>
            </a:r>
            <a:br>
              <a:rPr lang="cs-CZ" sz="600" b="1" dirty="0" smtClean="0">
                <a:solidFill>
                  <a:srgbClr val="000000"/>
                </a:solidFill>
              </a:rPr>
            </a:br>
            <a:r>
              <a:rPr lang="cs-CZ" sz="600" b="1" dirty="0" smtClean="0">
                <a:solidFill>
                  <a:srgbClr val="000000"/>
                </a:solidFill>
              </a:rPr>
              <a:t>návratnost</a:t>
            </a:r>
            <a:endParaRPr lang="cs-CZ" sz="600" b="1" dirty="0">
              <a:solidFill>
                <a:srgbClr val="FFFFFF"/>
              </a:solidFill>
            </a:endParaRPr>
          </a:p>
        </p:txBody>
      </p:sp>
      <p:sp>
        <p:nvSpPr>
          <p:cNvPr id="8215" name="Text Box 2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3340562" y="2847589"/>
            <a:ext cx="511358" cy="2769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Průměrná tržní ziskovost 2</a:t>
            </a:r>
            <a:endParaRPr lang="cs-CZ" sz="600" b="1" dirty="0">
              <a:solidFill>
                <a:srgbClr val="FFFFFF"/>
              </a:solidFill>
            </a:endParaRPr>
          </a:p>
        </p:txBody>
      </p:sp>
      <p:sp>
        <p:nvSpPr>
          <p:cNvPr id="8216" name="Text Box 22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3923928" y="2801423"/>
            <a:ext cx="530594" cy="36933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Očekávané roční výnosy projektu p.a.</a:t>
            </a:r>
            <a:br>
              <a:rPr lang="cs-CZ" sz="600" b="1" dirty="0" smtClean="0">
                <a:solidFill>
                  <a:srgbClr val="000000"/>
                </a:solidFill>
              </a:rPr>
            </a:br>
            <a:r>
              <a:rPr lang="cs-CZ" sz="600" b="1" dirty="0" smtClean="0">
                <a:solidFill>
                  <a:srgbClr val="000000"/>
                </a:solidFill>
              </a:rPr>
              <a:t>(08-17)</a:t>
            </a:r>
            <a:endParaRPr lang="cs-CZ" sz="600" b="1" dirty="0">
              <a:solidFill>
                <a:srgbClr val="FFFFFF"/>
              </a:solidFill>
            </a:endParaRPr>
          </a:p>
        </p:txBody>
      </p:sp>
      <p:sp>
        <p:nvSpPr>
          <p:cNvPr id="8217" name="Text Box 23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3175000" y="2897188"/>
            <a:ext cx="249238" cy="1778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=</a:t>
            </a:r>
            <a:r>
              <a:rPr lang="cs-CZ" sz="600" b="1" dirty="0" smtClean="0">
                <a:solidFill>
                  <a:srgbClr val="FFFFFF"/>
                </a:solidFill>
              </a:rPr>
              <a:t> </a:t>
            </a:r>
            <a:endParaRPr lang="cs-CZ" sz="600" b="1" dirty="0">
              <a:solidFill>
                <a:srgbClr val="FFFFFF"/>
              </a:solidFill>
            </a:endParaRPr>
          </a:p>
        </p:txBody>
      </p:sp>
      <p:sp>
        <p:nvSpPr>
          <p:cNvPr id="8218" name="Rectangle 24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2813050" y="4005263"/>
            <a:ext cx="1690688" cy="431800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endParaRPr lang="en-US" dirty="0"/>
          </a:p>
        </p:txBody>
      </p:sp>
      <p:sp>
        <p:nvSpPr>
          <p:cNvPr id="8219" name="Rectangle 25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2813050" y="3862388"/>
            <a:ext cx="1690688" cy="144463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130" tIns="47565" rIns="95130" bIns="47565" anchor="ctr"/>
          <a:lstStyle/>
          <a:p>
            <a:pPr defTabSz="931863"/>
            <a:r>
              <a:rPr lang="cs-CZ" sz="800" b="1" dirty="0" smtClean="0">
                <a:solidFill>
                  <a:schemeClr val="bg1"/>
                </a:solidFill>
              </a:rPr>
              <a:t>#3 Tržní adekvátnost</a:t>
            </a:r>
            <a:endParaRPr lang="cs-CZ" sz="800" b="1" dirty="0">
              <a:solidFill>
                <a:schemeClr val="bg1"/>
              </a:solidFill>
            </a:endParaRPr>
          </a:p>
        </p:txBody>
      </p:sp>
      <p:sp>
        <p:nvSpPr>
          <p:cNvPr id="8220" name="Rectangle 31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2813050" y="4616450"/>
            <a:ext cx="1690688" cy="431800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endParaRPr lang="en-US" dirty="0"/>
          </a:p>
        </p:txBody>
      </p:sp>
      <p:sp>
        <p:nvSpPr>
          <p:cNvPr id="8221" name="Rectangle 32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2813050" y="4475163"/>
            <a:ext cx="1690688" cy="144463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130" tIns="47565" rIns="95130" bIns="47565" anchor="ctr"/>
          <a:lstStyle/>
          <a:p>
            <a:pPr defTabSz="931863"/>
            <a:r>
              <a:rPr lang="cs-CZ" sz="800" b="1" dirty="0" smtClean="0">
                <a:solidFill>
                  <a:schemeClr val="bg1"/>
                </a:solidFill>
              </a:rPr>
              <a:t>#4 Rychlost přínosu</a:t>
            </a:r>
            <a:endParaRPr lang="cs-CZ" sz="800" b="1" dirty="0">
              <a:solidFill>
                <a:schemeClr val="bg1"/>
              </a:solidFill>
            </a:endParaRPr>
          </a:p>
        </p:txBody>
      </p:sp>
      <p:sp>
        <p:nvSpPr>
          <p:cNvPr id="8222" name="Text Box 34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2811463" y="4087813"/>
            <a:ext cx="635110" cy="2769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Tržní </a:t>
            </a:r>
            <a:br>
              <a:rPr lang="cs-CZ" sz="600" b="1" dirty="0" smtClean="0">
                <a:solidFill>
                  <a:srgbClr val="000000"/>
                </a:solidFill>
              </a:rPr>
            </a:br>
            <a:r>
              <a:rPr lang="cs-CZ" sz="600" b="1" dirty="0" smtClean="0">
                <a:solidFill>
                  <a:srgbClr val="000000"/>
                </a:solidFill>
              </a:rPr>
              <a:t>adekvátnost</a:t>
            </a:r>
            <a:endParaRPr lang="cs-CZ" sz="600" b="1" dirty="0">
              <a:solidFill>
                <a:srgbClr val="000000"/>
              </a:solidFill>
            </a:endParaRPr>
          </a:p>
        </p:txBody>
      </p:sp>
      <p:sp>
        <p:nvSpPr>
          <p:cNvPr id="8223" name="Text Box 35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3464246" y="4108430"/>
            <a:ext cx="459682" cy="184666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Atraktivita </a:t>
            </a:r>
            <a:br>
              <a:rPr lang="cs-CZ" sz="600" b="1" dirty="0" smtClean="0">
                <a:solidFill>
                  <a:srgbClr val="000000"/>
                </a:solidFill>
              </a:rPr>
            </a:br>
            <a:r>
              <a:rPr lang="cs-CZ" sz="600" b="1" dirty="0" smtClean="0">
                <a:solidFill>
                  <a:srgbClr val="000000"/>
                </a:solidFill>
              </a:rPr>
              <a:t>pro trh</a:t>
            </a:r>
            <a:endParaRPr lang="cs-CZ" sz="600" b="1" dirty="0">
              <a:solidFill>
                <a:srgbClr val="FFFFFF"/>
              </a:solidFill>
            </a:endParaRPr>
          </a:p>
        </p:txBody>
      </p:sp>
      <p:sp>
        <p:nvSpPr>
          <p:cNvPr id="8224" name="Text Box 36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3261692" y="4113076"/>
            <a:ext cx="230188" cy="18415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=</a:t>
            </a:r>
            <a:endParaRPr lang="cs-CZ" sz="600" b="1" dirty="0">
              <a:solidFill>
                <a:srgbClr val="000000"/>
              </a:solidFill>
            </a:endParaRPr>
          </a:p>
        </p:txBody>
      </p:sp>
      <p:sp>
        <p:nvSpPr>
          <p:cNvPr id="8225" name="Text Box 39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2811463" y="4697413"/>
            <a:ext cx="595312" cy="2667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Rychlost </a:t>
            </a:r>
            <a:br>
              <a:rPr lang="cs-CZ" sz="600" b="1" dirty="0" smtClean="0">
                <a:solidFill>
                  <a:srgbClr val="000000"/>
                </a:solidFill>
              </a:rPr>
            </a:br>
            <a:r>
              <a:rPr lang="cs-CZ" sz="600" b="1" dirty="0" smtClean="0">
                <a:solidFill>
                  <a:srgbClr val="000000"/>
                </a:solidFill>
              </a:rPr>
              <a:t>přínosu</a:t>
            </a:r>
            <a:endParaRPr lang="cs-CZ" sz="600" b="1" dirty="0">
              <a:solidFill>
                <a:srgbClr val="000000"/>
              </a:solidFill>
            </a:endParaRPr>
          </a:p>
        </p:txBody>
      </p:sp>
      <p:sp>
        <p:nvSpPr>
          <p:cNvPr id="8226" name="Text Box 40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3397250" y="4664075"/>
            <a:ext cx="801688" cy="1778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Pravd. úspěchu</a:t>
            </a:r>
            <a:endParaRPr lang="cs-CZ" sz="600" b="1" dirty="0">
              <a:solidFill>
                <a:srgbClr val="FFFFFF"/>
              </a:solidFill>
            </a:endParaRPr>
          </a:p>
        </p:txBody>
      </p:sp>
      <p:sp>
        <p:nvSpPr>
          <p:cNvPr id="8227" name="Text Box 41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3383868" y="4835376"/>
            <a:ext cx="742950" cy="1778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Doba uvedení na trh</a:t>
            </a:r>
            <a:endParaRPr lang="cs-CZ" sz="600" b="1" dirty="0">
              <a:solidFill>
                <a:srgbClr val="FFFFFF"/>
              </a:solidFill>
            </a:endParaRPr>
          </a:p>
        </p:txBody>
      </p:sp>
      <p:sp>
        <p:nvSpPr>
          <p:cNvPr id="8228" name="Line 42"/>
          <p:cNvSpPr>
            <a:spLocks noChangeShapeType="1"/>
          </p:cNvSpPr>
          <p:nvPr>
            <p:custDataLst>
              <p:tags r:id="rId36"/>
            </p:custDataLst>
          </p:nvPr>
        </p:nvSpPr>
        <p:spPr bwMode="gray">
          <a:xfrm>
            <a:off x="3494348" y="4831568"/>
            <a:ext cx="609600" cy="15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8229" name="Text Box 43"/>
          <p:cNvSpPr txBox="1"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3260725" y="4738688"/>
            <a:ext cx="228600" cy="1778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=</a:t>
            </a:r>
            <a:endParaRPr lang="cs-CZ" sz="600" b="1" dirty="0">
              <a:solidFill>
                <a:srgbClr val="000000"/>
              </a:solidFill>
            </a:endParaRPr>
          </a:p>
        </p:txBody>
      </p:sp>
      <p:sp>
        <p:nvSpPr>
          <p:cNvPr id="8230" name="Text Box 50"/>
          <p:cNvSpPr txBox="1"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4123754" y="4729163"/>
            <a:ext cx="376238" cy="1778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dirty="0" smtClean="0">
                <a:solidFill>
                  <a:srgbClr val="000000"/>
                </a:solidFill>
              </a:rPr>
              <a:t>x </a:t>
            </a:r>
            <a:r>
              <a:rPr lang="cs-CZ" sz="600" b="1" dirty="0" smtClean="0">
                <a:solidFill>
                  <a:srgbClr val="000000"/>
                </a:solidFill>
              </a:rPr>
              <a:t>100</a:t>
            </a:r>
            <a:endParaRPr lang="cs-CZ" sz="600" b="1" dirty="0">
              <a:solidFill>
                <a:srgbClr val="000000"/>
              </a:solidFill>
            </a:endParaRPr>
          </a:p>
        </p:txBody>
      </p:sp>
      <p:sp>
        <p:nvSpPr>
          <p:cNvPr id="8231" name="Rectangle 8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2813050" y="5224463"/>
            <a:ext cx="1690688" cy="431800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endParaRPr lang="en-US" dirty="0"/>
          </a:p>
        </p:txBody>
      </p:sp>
      <p:sp>
        <p:nvSpPr>
          <p:cNvPr id="8232" name="Text Box 26"/>
          <p:cNvSpPr txBox="1"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2811463" y="5303838"/>
            <a:ext cx="581025" cy="2667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ECV</a:t>
            </a:r>
            <a:br>
              <a:rPr lang="cs-CZ" sz="600" b="1" dirty="0" smtClean="0">
                <a:solidFill>
                  <a:srgbClr val="000000"/>
                </a:solidFill>
              </a:rPr>
            </a:br>
            <a:r>
              <a:rPr lang="cs-CZ" sz="600" b="1" dirty="0" smtClean="0">
                <a:solidFill>
                  <a:srgbClr val="000000"/>
                </a:solidFill>
              </a:rPr>
              <a:t>Vývoj</a:t>
            </a:r>
            <a:endParaRPr lang="cs-CZ" sz="600" b="1" dirty="0">
              <a:solidFill>
                <a:srgbClr val="000000"/>
              </a:solidFill>
            </a:endParaRPr>
          </a:p>
        </p:txBody>
      </p:sp>
      <p:sp>
        <p:nvSpPr>
          <p:cNvPr id="8233" name="Text Box 27"/>
          <p:cNvSpPr txBox="1"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3779912" y="5268913"/>
            <a:ext cx="357187" cy="1778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∆ ECV</a:t>
            </a:r>
            <a:endParaRPr lang="cs-CZ" sz="600" b="1" dirty="0">
              <a:solidFill>
                <a:srgbClr val="FFFFFF"/>
              </a:solidFill>
            </a:endParaRPr>
          </a:p>
        </p:txBody>
      </p:sp>
      <p:sp>
        <p:nvSpPr>
          <p:cNvPr id="8234" name="Text Box 28"/>
          <p:cNvSpPr txBox="1"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3646426" y="5399088"/>
            <a:ext cx="817562" cy="2667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Uplynulá doba projektu</a:t>
            </a:r>
            <a:endParaRPr lang="cs-CZ" sz="600" b="1" dirty="0">
              <a:solidFill>
                <a:srgbClr val="FFFFFF"/>
              </a:solidFill>
            </a:endParaRPr>
          </a:p>
        </p:txBody>
      </p:sp>
      <p:sp>
        <p:nvSpPr>
          <p:cNvPr id="8235" name="Line 29"/>
          <p:cNvSpPr>
            <a:spLocks noChangeShapeType="1"/>
          </p:cNvSpPr>
          <p:nvPr>
            <p:custDataLst>
              <p:tags r:id="rId43"/>
            </p:custDataLst>
          </p:nvPr>
        </p:nvSpPr>
        <p:spPr bwMode="gray">
          <a:xfrm flipV="1">
            <a:off x="3592513" y="5419725"/>
            <a:ext cx="79216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8236" name="Text Box 30"/>
          <p:cNvSpPr txBox="1"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3376613" y="5334000"/>
            <a:ext cx="200025" cy="1778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=</a:t>
            </a:r>
            <a:endParaRPr lang="cs-CZ" sz="600" b="1" dirty="0">
              <a:solidFill>
                <a:srgbClr val="000000"/>
              </a:solidFill>
            </a:endParaRPr>
          </a:p>
        </p:txBody>
      </p:sp>
      <p:sp>
        <p:nvSpPr>
          <p:cNvPr id="8237" name="Rectangle 33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2813050" y="5081588"/>
            <a:ext cx="1690688" cy="144463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130" tIns="47565" rIns="95130" bIns="47565" anchor="ctr"/>
          <a:lstStyle/>
          <a:p>
            <a:pPr defTabSz="931863"/>
            <a:r>
              <a:rPr lang="cs-CZ" sz="800" b="1" dirty="0" smtClean="0">
                <a:solidFill>
                  <a:schemeClr val="bg1"/>
                </a:solidFill>
              </a:rPr>
              <a:t>#5 ECV</a:t>
            </a:r>
            <a:r>
              <a:rPr lang="cs-CZ" sz="800" b="1" baseline="30000" dirty="0" smtClean="0">
                <a:solidFill>
                  <a:schemeClr val="bg1"/>
                </a:solidFill>
              </a:rPr>
              <a:t>1</a:t>
            </a:r>
            <a:r>
              <a:rPr lang="cs-CZ" sz="800" b="1" dirty="0" smtClean="0">
                <a:solidFill>
                  <a:schemeClr val="bg1"/>
                </a:solidFill>
              </a:rPr>
              <a:t> Vývoj</a:t>
            </a:r>
            <a:endParaRPr lang="cs-CZ" sz="800" b="1" baseline="30000" dirty="0">
              <a:solidFill>
                <a:schemeClr val="bg1"/>
              </a:solidFill>
            </a:endParaRPr>
          </a:p>
        </p:txBody>
      </p:sp>
      <p:sp>
        <p:nvSpPr>
          <p:cNvPr id="8238" name="Rectangle 37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2813050" y="5830888"/>
            <a:ext cx="1690688" cy="431800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endParaRPr lang="en-GB" dirty="0"/>
          </a:p>
        </p:txBody>
      </p:sp>
      <p:sp>
        <p:nvSpPr>
          <p:cNvPr id="8239" name="Rectangle 38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2813050" y="5691188"/>
            <a:ext cx="1690688" cy="144463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130" tIns="47565" rIns="95130" bIns="47565" anchor="ctr"/>
          <a:lstStyle/>
          <a:p>
            <a:pPr defTabSz="931863"/>
            <a:r>
              <a:rPr lang="cs-CZ" sz="800" b="1" dirty="0" smtClean="0">
                <a:solidFill>
                  <a:schemeClr val="bg1"/>
                </a:solidFill>
              </a:rPr>
              <a:t>#6 Omezenost zdrojů</a:t>
            </a:r>
            <a:endParaRPr lang="cs-CZ" sz="800" b="1" baseline="30000" dirty="0">
              <a:solidFill>
                <a:schemeClr val="bg1"/>
              </a:solidFill>
            </a:endParaRPr>
          </a:p>
        </p:txBody>
      </p:sp>
      <p:sp>
        <p:nvSpPr>
          <p:cNvPr id="8240" name="Text Box 51"/>
          <p:cNvSpPr txBox="1"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2771800" y="5915025"/>
            <a:ext cx="522287" cy="2667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Omezenost</a:t>
            </a:r>
            <a:br>
              <a:rPr lang="cs-CZ" sz="600" b="1" dirty="0" smtClean="0">
                <a:solidFill>
                  <a:srgbClr val="000000"/>
                </a:solidFill>
              </a:rPr>
            </a:br>
            <a:r>
              <a:rPr lang="cs-CZ" sz="600" b="1" dirty="0" smtClean="0">
                <a:solidFill>
                  <a:srgbClr val="000000"/>
                </a:solidFill>
              </a:rPr>
              <a:t>zdrojů</a:t>
            </a:r>
            <a:endParaRPr lang="cs-CZ" sz="600" b="1" dirty="0">
              <a:solidFill>
                <a:srgbClr val="000000"/>
              </a:solidFill>
            </a:endParaRPr>
          </a:p>
        </p:txBody>
      </p:sp>
      <p:sp>
        <p:nvSpPr>
          <p:cNvPr id="8241" name="Text Box 52"/>
          <p:cNvSpPr txBox="1"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3387154" y="5841268"/>
            <a:ext cx="1112838" cy="46166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Počet projektů, které zahrnují využití klíčového, omezeného zdroje ve stejný čas</a:t>
            </a:r>
            <a:endParaRPr lang="cs-CZ" sz="600" b="1" dirty="0">
              <a:solidFill>
                <a:srgbClr val="000000"/>
              </a:solidFill>
            </a:endParaRPr>
          </a:p>
        </p:txBody>
      </p:sp>
      <p:sp>
        <p:nvSpPr>
          <p:cNvPr id="8242" name="Text Box 53"/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3263900" y="5959475"/>
            <a:ext cx="200025" cy="1778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=</a:t>
            </a:r>
            <a:endParaRPr lang="cs-CZ" sz="600" b="1" dirty="0">
              <a:solidFill>
                <a:srgbClr val="000000"/>
              </a:solidFill>
            </a:endParaRPr>
          </a:p>
        </p:txBody>
      </p:sp>
      <p:graphicFrame>
        <p:nvGraphicFramePr>
          <p:cNvPr id="8243" name="Object 3"/>
          <p:cNvGraphicFramePr>
            <a:graphicFrameLocks noChangeAspect="1"/>
          </p:cNvGraphicFramePr>
          <p:nvPr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1231160818"/>
              </p:ext>
            </p:extLst>
          </p:nvPr>
        </p:nvGraphicFramePr>
        <p:xfrm>
          <a:off x="6807200" y="3560763"/>
          <a:ext cx="1676400" cy="233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82" name="Chart" r:id="rId112" imgW="1676430" imgH="2333715" progId="MSGraph.Chart.8">
                  <p:embed followColorScheme="full"/>
                </p:oleObj>
              </mc:Choice>
              <mc:Fallback>
                <p:oleObj name="Chart" r:id="rId112" imgW="1676430" imgH="2333715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07200" y="3560763"/>
                        <a:ext cx="1676400" cy="233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/>
          <p:cNvSpPr/>
          <p:nvPr>
            <p:custDataLst>
              <p:tags r:id="rId52"/>
            </p:custDataLst>
          </p:nvPr>
        </p:nvSpPr>
        <p:spPr bwMode="auto">
          <a:xfrm>
            <a:off x="6599238" y="3355975"/>
            <a:ext cx="682625" cy="24447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>
            <a:noAutofit/>
          </a:bodyPr>
          <a:lstStyle/>
          <a:p>
            <a:pPr algn="ctr">
              <a:defRPr/>
            </a:pPr>
            <a:r>
              <a:rPr lang="cs-CZ" sz="800" b="1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Vážené skóre </a:t>
            </a:r>
            <a:br>
              <a:rPr lang="cs-CZ" sz="800" b="1" dirty="0" smtClean="0">
                <a:solidFill>
                  <a:srgbClr val="000000"/>
                </a:solidFill>
                <a:cs typeface="Arial" charset="0"/>
                <a:sym typeface="Arial" charset="0"/>
              </a:rPr>
            </a:br>
            <a:r>
              <a:rPr lang="cs-CZ" sz="800" b="1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projektů</a:t>
            </a:r>
            <a:endParaRPr lang="cs-CZ" sz="800" b="1" baseline="30000" dirty="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8245" name="Rectangle 45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6746875" y="3786188"/>
            <a:ext cx="1143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/>
            <a:fld id="{04023657-6BE9-4B6D-B44B-8DECBC0DAC01}" type="datetime'''1''''''''0'''''''''''''''''''''''''''''">
              <a:rPr lang="cs-CZ" sz="800" smtClean="0">
                <a:solidFill>
                  <a:srgbClr val="000000"/>
                </a:solidFill>
              </a:rPr>
              <a:pPr algn="r"/>
              <a:t>10</a:t>
            </a:fld>
            <a:endParaRPr lang="cs-CZ" sz="800" dirty="0">
              <a:solidFill>
                <a:srgbClr val="000000"/>
              </a:solidFill>
            </a:endParaRPr>
          </a:p>
        </p:txBody>
      </p:sp>
      <p:sp>
        <p:nvSpPr>
          <p:cNvPr id="8246" name="Rectangle 48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6804025" y="3976688"/>
            <a:ext cx="571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/>
            <a:fld id="{B3AD14FA-CC29-45D4-A038-368E9F8924C6}" type="datetime'''''''''''9'''''''''''''''''''''''''''''">
              <a:rPr lang="cs-CZ" sz="800" smtClean="0">
                <a:solidFill>
                  <a:srgbClr val="000000"/>
                </a:solidFill>
              </a:rPr>
              <a:pPr algn="r"/>
              <a:t>9</a:t>
            </a:fld>
            <a:endParaRPr lang="cs-CZ" sz="800" dirty="0">
              <a:solidFill>
                <a:srgbClr val="000000"/>
              </a:solidFill>
            </a:endParaRPr>
          </a:p>
        </p:txBody>
      </p:sp>
      <p:sp>
        <p:nvSpPr>
          <p:cNvPr id="8247" name="Rectangle 44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6804025" y="4167188"/>
            <a:ext cx="571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/>
            <a:fld id="{DD315F4A-A23D-403E-AFEB-7608920FC659}" type="datetime'''''''''''''''8'''''''''''''''''''''''''''''''''''''''''''''''">
              <a:rPr lang="cs-CZ" sz="800" smtClean="0">
                <a:solidFill>
                  <a:srgbClr val="000000"/>
                </a:solidFill>
              </a:rPr>
              <a:pPr algn="r"/>
              <a:t>8</a:t>
            </a:fld>
            <a:endParaRPr lang="cs-CZ" sz="800" dirty="0">
              <a:solidFill>
                <a:srgbClr val="000000"/>
              </a:solidFill>
            </a:endParaRPr>
          </a:p>
        </p:txBody>
      </p:sp>
      <p:sp>
        <p:nvSpPr>
          <p:cNvPr id="8248" name="Rectangle 42"/>
          <p:cNvSpPr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6804025" y="4357688"/>
            <a:ext cx="571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/>
            <a:fld id="{53655A08-18D4-41C0-BE35-0F77599B1554}" type="datetime'7'''''''''''''''''''''''''''''''''''''''''''''''''''''''''''">
              <a:rPr lang="cs-CZ" sz="800" smtClean="0">
                <a:solidFill>
                  <a:srgbClr val="000000"/>
                </a:solidFill>
              </a:rPr>
              <a:pPr algn="r"/>
              <a:t>7</a:t>
            </a:fld>
            <a:endParaRPr lang="cs-CZ" sz="800" dirty="0">
              <a:solidFill>
                <a:srgbClr val="000000"/>
              </a:solidFill>
            </a:endParaRPr>
          </a:p>
        </p:txBody>
      </p:sp>
      <p:sp>
        <p:nvSpPr>
          <p:cNvPr id="8249" name="Rectangle 46"/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6804025" y="4548188"/>
            <a:ext cx="571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/>
            <a:fld id="{3E39FBB8-7581-43FF-9F3D-787D7F9716AC}" type="datetime'''''6'''''">
              <a:rPr lang="cs-CZ" sz="800" smtClean="0">
                <a:solidFill>
                  <a:srgbClr val="000000"/>
                </a:solidFill>
              </a:rPr>
              <a:pPr algn="r"/>
              <a:t>6</a:t>
            </a:fld>
            <a:endParaRPr lang="cs-CZ" sz="800" dirty="0">
              <a:solidFill>
                <a:srgbClr val="000000"/>
              </a:solidFill>
            </a:endParaRPr>
          </a:p>
        </p:txBody>
      </p:sp>
      <p:sp>
        <p:nvSpPr>
          <p:cNvPr id="8250" name="Rectangle 47"/>
          <p:cNvSpPr>
            <a:spLocks noChangeArrowheads="1"/>
          </p:cNvSpPr>
          <p:nvPr>
            <p:custDataLst>
              <p:tags r:id="rId58"/>
            </p:custDataLst>
          </p:nvPr>
        </p:nvSpPr>
        <p:spPr bwMode="auto">
          <a:xfrm>
            <a:off x="6804025" y="4729163"/>
            <a:ext cx="571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/>
            <a:fld id="{92661436-6512-4E96-96F9-116EE1F58FE9}" type="datetime'''''''5'''''''''''''''''''''''''''''''''">
              <a:rPr lang="cs-CZ" sz="800" smtClean="0">
                <a:solidFill>
                  <a:srgbClr val="000000"/>
                </a:solidFill>
              </a:rPr>
              <a:pPr algn="r"/>
              <a:t>5</a:t>
            </a:fld>
            <a:endParaRPr lang="cs-CZ" sz="800" dirty="0">
              <a:solidFill>
                <a:srgbClr val="000000"/>
              </a:solidFill>
            </a:endParaRPr>
          </a:p>
        </p:txBody>
      </p:sp>
      <p:sp>
        <p:nvSpPr>
          <p:cNvPr id="8251" name="Rectangle 39"/>
          <p:cNvSpPr>
            <a:spLocks noChangeArrowheads="1"/>
          </p:cNvSpPr>
          <p:nvPr>
            <p:custDataLst>
              <p:tags r:id="rId59"/>
            </p:custDataLst>
          </p:nvPr>
        </p:nvSpPr>
        <p:spPr bwMode="auto">
          <a:xfrm>
            <a:off x="6804025" y="4919663"/>
            <a:ext cx="571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/>
            <a:fld id="{83A720D2-991D-41E1-A10D-6F85F9B7DB03}" type="datetime'''''''''''''''''''''''''4'''''">
              <a:rPr lang="cs-CZ" sz="800" smtClean="0">
                <a:solidFill>
                  <a:srgbClr val="000000"/>
                </a:solidFill>
              </a:rPr>
              <a:pPr algn="r"/>
              <a:t>4</a:t>
            </a:fld>
            <a:endParaRPr lang="cs-CZ" sz="800" dirty="0">
              <a:solidFill>
                <a:srgbClr val="000000"/>
              </a:solidFill>
            </a:endParaRPr>
          </a:p>
        </p:txBody>
      </p:sp>
      <p:sp>
        <p:nvSpPr>
          <p:cNvPr id="8252" name="Rectangle 43"/>
          <p:cNvSpPr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6804025" y="5110163"/>
            <a:ext cx="571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/>
            <a:fld id="{9FBE4844-64F3-4851-850C-39D61E46FD8E}" type="datetime'''3'''''''''''''''''''''''''''''''''''''''''''''''''''''''''">
              <a:rPr lang="cs-CZ" sz="800" smtClean="0">
                <a:solidFill>
                  <a:srgbClr val="000000"/>
                </a:solidFill>
              </a:rPr>
              <a:pPr algn="r"/>
              <a:t>3</a:t>
            </a:fld>
            <a:endParaRPr lang="cs-CZ" sz="800" dirty="0">
              <a:solidFill>
                <a:srgbClr val="000000"/>
              </a:solidFill>
            </a:endParaRPr>
          </a:p>
        </p:txBody>
      </p:sp>
      <p:sp>
        <p:nvSpPr>
          <p:cNvPr id="8253" name="Rectangle 49"/>
          <p:cNvSpPr>
            <a:spLocks noChangeArrowheads="1"/>
          </p:cNvSpPr>
          <p:nvPr>
            <p:custDataLst>
              <p:tags r:id="rId61"/>
            </p:custDataLst>
          </p:nvPr>
        </p:nvSpPr>
        <p:spPr bwMode="auto">
          <a:xfrm>
            <a:off x="6804025" y="5300663"/>
            <a:ext cx="571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/>
            <a:fld id="{B7109066-FF01-4722-BD77-CD72957BCA82}" type="datetime'''''''''''''''''''''''''''2'''''''''''''''">
              <a:rPr lang="cs-CZ" sz="800" smtClean="0">
                <a:solidFill>
                  <a:srgbClr val="000000"/>
                </a:solidFill>
              </a:rPr>
              <a:pPr algn="r"/>
              <a:t>2</a:t>
            </a:fld>
            <a:endParaRPr lang="cs-CZ" sz="800" dirty="0">
              <a:solidFill>
                <a:srgbClr val="000000"/>
              </a:solidFill>
            </a:endParaRPr>
          </a:p>
        </p:txBody>
      </p:sp>
      <p:sp>
        <p:nvSpPr>
          <p:cNvPr id="8254" name="Rectangle 41"/>
          <p:cNvSpPr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6804025" y="5491163"/>
            <a:ext cx="571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/>
            <a:fld id="{033DFCCF-F0D8-49A7-A5EA-C75AB2778125}" type="datetime'''''''''''''''''''''''''''''''''''''''1'''''''''''''''">
              <a:rPr lang="cs-CZ" sz="800" smtClean="0">
                <a:solidFill>
                  <a:srgbClr val="000000"/>
                </a:solidFill>
              </a:rPr>
              <a:pPr algn="r"/>
              <a:t>1</a:t>
            </a:fld>
            <a:endParaRPr lang="cs-CZ" sz="800" dirty="0">
              <a:solidFill>
                <a:srgbClr val="000000"/>
              </a:solidFill>
            </a:endParaRPr>
          </a:p>
        </p:txBody>
      </p:sp>
      <p:sp>
        <p:nvSpPr>
          <p:cNvPr id="8255" name="Rectangle 38"/>
          <p:cNvSpPr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6804025" y="5681663"/>
            <a:ext cx="571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/>
            <a:fld id="{EC197283-C1EC-4169-BBDC-66148AB94DAA}" type="datetime'''''''''''0'''''''''''''''''''''''''''''''''''">
              <a:rPr lang="cs-CZ" sz="800" smtClean="0">
                <a:solidFill>
                  <a:srgbClr val="000000"/>
                </a:solidFill>
              </a:rPr>
              <a:pPr algn="r"/>
              <a:t>0</a:t>
            </a:fld>
            <a:endParaRPr lang="cs-CZ" sz="800" dirty="0">
              <a:solidFill>
                <a:srgbClr val="000000"/>
              </a:solidFill>
            </a:endParaRPr>
          </a:p>
        </p:txBody>
      </p:sp>
      <p:cxnSp>
        <p:nvCxnSpPr>
          <p:cNvPr id="64" name="Straight Arrow Connector 63"/>
          <p:cNvCxnSpPr/>
          <p:nvPr>
            <p:custDataLst>
              <p:tags r:id="rId64"/>
            </p:custDataLst>
          </p:nvPr>
        </p:nvCxnSpPr>
        <p:spPr>
          <a:xfrm>
            <a:off x="6945313" y="4610100"/>
            <a:ext cx="900113" cy="3175"/>
          </a:xfrm>
          <a:prstGeom prst="straightConnector1">
            <a:avLst/>
          </a:prstGeom>
          <a:ln w="12700" cap="rnd">
            <a:solidFill>
              <a:schemeClr val="accent4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/>
          <p:nvPr>
            <p:custDataLst>
              <p:tags r:id="rId65"/>
            </p:custDataLst>
          </p:nvPr>
        </p:nvCxnSpPr>
        <p:spPr>
          <a:xfrm>
            <a:off x="6953250" y="4229100"/>
            <a:ext cx="863600" cy="1587"/>
          </a:xfrm>
          <a:prstGeom prst="straightConnector1">
            <a:avLst/>
          </a:prstGeom>
          <a:ln w="12700" cap="rnd">
            <a:solidFill>
              <a:schemeClr val="accent4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58" name="AutoShape 50"/>
          <p:cNvSpPr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6911975" y="3608388"/>
            <a:ext cx="55563" cy="61913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8259" name="Rectangle 51"/>
          <p:cNvSpPr>
            <a:spLocks noChangeArrowheads="1"/>
          </p:cNvSpPr>
          <p:nvPr>
            <p:custDataLst>
              <p:tags r:id="rId67"/>
            </p:custDataLst>
          </p:nvPr>
        </p:nvSpPr>
        <p:spPr bwMode="auto">
          <a:xfrm>
            <a:off x="7824788" y="4170363"/>
            <a:ext cx="71596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/>
          <a:p>
            <a:r>
              <a:rPr lang="cs-CZ" sz="600" i="1" dirty="0" smtClean="0">
                <a:solidFill>
                  <a:srgbClr val="000000"/>
                </a:solidFill>
              </a:rPr>
              <a:t>Horní hranice</a:t>
            </a:r>
            <a:endParaRPr lang="cs-CZ" sz="600" i="1" dirty="0">
              <a:solidFill>
                <a:srgbClr val="000000"/>
              </a:solidFill>
            </a:endParaRPr>
          </a:p>
        </p:txBody>
      </p:sp>
      <p:sp>
        <p:nvSpPr>
          <p:cNvPr id="8260" name="Text Box 55"/>
          <p:cNvSpPr txBox="1">
            <a:spLocks noChangeArrowheads="1"/>
          </p:cNvSpPr>
          <p:nvPr>
            <p:custDataLst>
              <p:tags r:id="rId68"/>
            </p:custDataLst>
          </p:nvPr>
        </p:nvSpPr>
        <p:spPr bwMode="auto">
          <a:xfrm>
            <a:off x="7185025" y="3619371"/>
            <a:ext cx="30457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Projekty</a:t>
            </a:r>
            <a:endParaRPr lang="cs-CZ" sz="600" b="1" baseline="30000" dirty="0">
              <a:solidFill>
                <a:srgbClr val="000000"/>
              </a:solidFill>
            </a:endParaRPr>
          </a:p>
        </p:txBody>
      </p:sp>
      <p:sp>
        <p:nvSpPr>
          <p:cNvPr id="8261" name="Rectangle 58"/>
          <p:cNvSpPr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7177088" y="3821113"/>
            <a:ext cx="517525" cy="117475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/>
          <a:p>
            <a:r>
              <a:rPr lang="cs-CZ" sz="600" dirty="0" smtClean="0">
                <a:solidFill>
                  <a:schemeClr val="bg1"/>
                </a:solidFill>
              </a:rPr>
              <a:t>Projekt 5</a:t>
            </a:r>
            <a:endParaRPr lang="cs-CZ" sz="600" dirty="0">
              <a:solidFill>
                <a:schemeClr val="bg1"/>
              </a:solidFill>
            </a:endParaRPr>
          </a:p>
        </p:txBody>
      </p:sp>
      <p:sp>
        <p:nvSpPr>
          <p:cNvPr id="8262" name="Line 59"/>
          <p:cNvSpPr>
            <a:spLocks noChangeShapeType="1"/>
          </p:cNvSpPr>
          <p:nvPr>
            <p:custDataLst>
              <p:tags r:id="rId70"/>
            </p:custDataLst>
          </p:nvPr>
        </p:nvSpPr>
        <p:spPr bwMode="auto">
          <a:xfrm flipH="1">
            <a:off x="6953250" y="3879850"/>
            <a:ext cx="223837" cy="0"/>
          </a:xfrm>
          <a:prstGeom prst="line">
            <a:avLst/>
          </a:prstGeom>
          <a:noFill/>
          <a:ln w="6350">
            <a:solidFill>
              <a:schemeClr val="accent4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2000" tIns="72000" rIns="72000" bIns="72000" anchor="ctr">
            <a:spAutoFit/>
          </a:bodyPr>
          <a:lstStyle/>
          <a:p>
            <a:endParaRPr lang="en-US" dirty="0"/>
          </a:p>
        </p:txBody>
      </p:sp>
      <p:sp>
        <p:nvSpPr>
          <p:cNvPr id="8263" name="Rectangle 60"/>
          <p:cNvSpPr>
            <a:spLocks noChangeArrowheads="1"/>
          </p:cNvSpPr>
          <p:nvPr>
            <p:custDataLst>
              <p:tags r:id="rId71"/>
            </p:custDataLst>
          </p:nvPr>
        </p:nvSpPr>
        <p:spPr bwMode="auto">
          <a:xfrm>
            <a:off x="7177088" y="4002088"/>
            <a:ext cx="517525" cy="117475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/>
          <a:p>
            <a:r>
              <a:rPr lang="cs-CZ" sz="600" dirty="0" smtClean="0">
                <a:solidFill>
                  <a:schemeClr val="bg1"/>
                </a:solidFill>
              </a:rPr>
              <a:t>Projekt 4</a:t>
            </a:r>
            <a:endParaRPr lang="cs-CZ" sz="600" dirty="0">
              <a:solidFill>
                <a:schemeClr val="bg1"/>
              </a:solidFill>
            </a:endParaRPr>
          </a:p>
        </p:txBody>
      </p:sp>
      <p:sp>
        <p:nvSpPr>
          <p:cNvPr id="8264" name="Line 61"/>
          <p:cNvSpPr>
            <a:spLocks noChangeShapeType="1"/>
          </p:cNvSpPr>
          <p:nvPr>
            <p:custDataLst>
              <p:tags r:id="rId72"/>
            </p:custDataLst>
          </p:nvPr>
        </p:nvSpPr>
        <p:spPr bwMode="auto">
          <a:xfrm flipH="1">
            <a:off x="6953250" y="4059238"/>
            <a:ext cx="223837" cy="0"/>
          </a:xfrm>
          <a:prstGeom prst="line">
            <a:avLst/>
          </a:prstGeom>
          <a:noFill/>
          <a:ln w="6350">
            <a:solidFill>
              <a:schemeClr val="accent4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2000" tIns="72000" rIns="72000" bIns="72000" anchor="ctr">
            <a:spAutoFit/>
          </a:bodyPr>
          <a:lstStyle/>
          <a:p>
            <a:endParaRPr lang="en-US" dirty="0"/>
          </a:p>
        </p:txBody>
      </p:sp>
      <p:sp>
        <p:nvSpPr>
          <p:cNvPr id="8265" name="Rectangle 64"/>
          <p:cNvSpPr>
            <a:spLocks noChangeArrowheads="1"/>
          </p:cNvSpPr>
          <p:nvPr>
            <p:custDataLst>
              <p:tags r:id="rId73"/>
            </p:custDataLst>
          </p:nvPr>
        </p:nvSpPr>
        <p:spPr bwMode="auto">
          <a:xfrm>
            <a:off x="7177088" y="4381500"/>
            <a:ext cx="517525" cy="117475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/>
          <a:p>
            <a:r>
              <a:rPr lang="cs-CZ" sz="600" dirty="0" smtClean="0">
                <a:solidFill>
                  <a:schemeClr val="bg1"/>
                </a:solidFill>
              </a:rPr>
              <a:t>Projekt 3</a:t>
            </a:r>
            <a:endParaRPr lang="cs-CZ" sz="600" dirty="0">
              <a:solidFill>
                <a:schemeClr val="bg1"/>
              </a:solidFill>
            </a:endParaRPr>
          </a:p>
        </p:txBody>
      </p:sp>
      <p:sp>
        <p:nvSpPr>
          <p:cNvPr id="8266" name="Line 65"/>
          <p:cNvSpPr>
            <a:spLocks noChangeShapeType="1"/>
          </p:cNvSpPr>
          <p:nvPr>
            <p:custDataLst>
              <p:tags r:id="rId74"/>
            </p:custDataLst>
          </p:nvPr>
        </p:nvSpPr>
        <p:spPr bwMode="auto">
          <a:xfrm flipH="1">
            <a:off x="6953250" y="4440238"/>
            <a:ext cx="223837" cy="0"/>
          </a:xfrm>
          <a:prstGeom prst="line">
            <a:avLst/>
          </a:prstGeom>
          <a:noFill/>
          <a:ln w="6350">
            <a:solidFill>
              <a:schemeClr val="accent4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2000" tIns="72000" rIns="72000" bIns="72000" anchor="ctr">
            <a:spAutoFit/>
          </a:bodyPr>
          <a:lstStyle/>
          <a:p>
            <a:endParaRPr lang="en-US" dirty="0"/>
          </a:p>
        </p:txBody>
      </p:sp>
      <p:sp>
        <p:nvSpPr>
          <p:cNvPr id="8267" name="Rectangle 66"/>
          <p:cNvSpPr>
            <a:spLocks noChangeArrowheads="1"/>
          </p:cNvSpPr>
          <p:nvPr>
            <p:custDataLst>
              <p:tags r:id="rId75"/>
            </p:custDataLst>
          </p:nvPr>
        </p:nvSpPr>
        <p:spPr bwMode="auto">
          <a:xfrm>
            <a:off x="7177088" y="4883150"/>
            <a:ext cx="517525" cy="117475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/>
          <a:p>
            <a:r>
              <a:rPr lang="cs-CZ" sz="600" dirty="0" smtClean="0">
                <a:solidFill>
                  <a:schemeClr val="bg1"/>
                </a:solidFill>
              </a:rPr>
              <a:t>Projekt 2</a:t>
            </a:r>
            <a:endParaRPr lang="cs-CZ" sz="600" dirty="0">
              <a:solidFill>
                <a:schemeClr val="bg1"/>
              </a:solidFill>
            </a:endParaRPr>
          </a:p>
        </p:txBody>
      </p:sp>
      <p:sp>
        <p:nvSpPr>
          <p:cNvPr id="8268" name="Line 67"/>
          <p:cNvSpPr>
            <a:spLocks noChangeShapeType="1"/>
          </p:cNvSpPr>
          <p:nvPr>
            <p:custDataLst>
              <p:tags r:id="rId76"/>
            </p:custDataLst>
          </p:nvPr>
        </p:nvSpPr>
        <p:spPr bwMode="auto">
          <a:xfrm flipH="1">
            <a:off x="6953250" y="4941888"/>
            <a:ext cx="223837" cy="0"/>
          </a:xfrm>
          <a:prstGeom prst="line">
            <a:avLst/>
          </a:prstGeom>
          <a:noFill/>
          <a:ln w="6350">
            <a:solidFill>
              <a:schemeClr val="accent4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2000" tIns="72000" rIns="72000" bIns="72000" anchor="ctr">
            <a:spAutoFit/>
          </a:bodyPr>
          <a:lstStyle/>
          <a:p>
            <a:endParaRPr lang="en-US" dirty="0"/>
          </a:p>
        </p:txBody>
      </p:sp>
      <p:sp>
        <p:nvSpPr>
          <p:cNvPr id="8269" name="Rectangle 68"/>
          <p:cNvSpPr>
            <a:spLocks noChangeArrowheads="1"/>
          </p:cNvSpPr>
          <p:nvPr>
            <p:custDataLst>
              <p:tags r:id="rId77"/>
            </p:custDataLst>
          </p:nvPr>
        </p:nvSpPr>
        <p:spPr bwMode="auto">
          <a:xfrm>
            <a:off x="7177088" y="5483225"/>
            <a:ext cx="517525" cy="117475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/>
          <a:p>
            <a:r>
              <a:rPr lang="cs-CZ" sz="600" dirty="0" smtClean="0">
                <a:solidFill>
                  <a:schemeClr val="bg1"/>
                </a:solidFill>
              </a:rPr>
              <a:t>Projekt 1</a:t>
            </a:r>
            <a:endParaRPr lang="cs-CZ" sz="600" dirty="0">
              <a:solidFill>
                <a:schemeClr val="bg1"/>
              </a:solidFill>
            </a:endParaRPr>
          </a:p>
        </p:txBody>
      </p:sp>
      <p:sp>
        <p:nvSpPr>
          <p:cNvPr id="8270" name="Line 69"/>
          <p:cNvSpPr>
            <a:spLocks noChangeShapeType="1"/>
          </p:cNvSpPr>
          <p:nvPr>
            <p:custDataLst>
              <p:tags r:id="rId78"/>
            </p:custDataLst>
          </p:nvPr>
        </p:nvSpPr>
        <p:spPr bwMode="auto">
          <a:xfrm flipH="1">
            <a:off x="6953250" y="5541963"/>
            <a:ext cx="223837" cy="0"/>
          </a:xfrm>
          <a:prstGeom prst="line">
            <a:avLst/>
          </a:prstGeom>
          <a:noFill/>
          <a:ln w="6350">
            <a:solidFill>
              <a:schemeClr val="accent4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2000" tIns="72000" rIns="72000" bIns="72000" anchor="ctr">
            <a:spAutoFit/>
          </a:bodyPr>
          <a:lstStyle/>
          <a:p>
            <a:endParaRPr lang="en-US" dirty="0"/>
          </a:p>
        </p:txBody>
      </p:sp>
      <p:sp>
        <p:nvSpPr>
          <p:cNvPr id="8271" name="AutoShape 70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731125" y="3805238"/>
            <a:ext cx="95250" cy="350838"/>
          </a:xfrm>
          <a:prstGeom prst="rightBrace">
            <a:avLst>
              <a:gd name="adj1" fmla="val 65891"/>
              <a:gd name="adj2" fmla="val 50000"/>
            </a:avLst>
          </a:prstGeom>
          <a:noFill/>
          <a:ln w="12700">
            <a:solidFill>
              <a:schemeClr val="accent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tIns="72000" rIns="72000" bIns="72000" anchor="ctr">
            <a:spAutoFit/>
          </a:bodyPr>
          <a:lstStyle/>
          <a:p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8272" name="Oval 73"/>
          <p:cNvSpPr>
            <a:spLocks noChangeArrowheads="1"/>
          </p:cNvSpPr>
          <p:nvPr>
            <p:custDataLst>
              <p:tags r:id="rId80"/>
            </p:custDataLst>
          </p:nvPr>
        </p:nvSpPr>
        <p:spPr bwMode="auto">
          <a:xfrm>
            <a:off x="7847013" y="3870325"/>
            <a:ext cx="449263" cy="165100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cs-CZ" sz="800" b="1" dirty="0" smtClean="0">
                <a:solidFill>
                  <a:srgbClr val="FFFFFF"/>
                </a:solidFill>
              </a:rPr>
              <a:t>Nechat</a:t>
            </a:r>
            <a:endParaRPr lang="cs-CZ" sz="800" b="1" dirty="0">
              <a:solidFill>
                <a:srgbClr val="FFFFFF"/>
              </a:solidFill>
            </a:endParaRPr>
          </a:p>
        </p:txBody>
      </p:sp>
      <p:sp>
        <p:nvSpPr>
          <p:cNvPr id="8273" name="Oval 74"/>
          <p:cNvSpPr>
            <a:spLocks noChangeArrowheads="1"/>
          </p:cNvSpPr>
          <p:nvPr>
            <p:custDataLst>
              <p:tags r:id="rId81"/>
            </p:custDataLst>
          </p:nvPr>
        </p:nvSpPr>
        <p:spPr bwMode="auto">
          <a:xfrm>
            <a:off x="7847013" y="4330700"/>
            <a:ext cx="449263" cy="165100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cs-CZ" sz="800" b="1" dirty="0" smtClean="0">
                <a:solidFill>
                  <a:srgbClr val="FFFFFF"/>
                </a:solidFill>
              </a:rPr>
              <a:t>Sledovat</a:t>
            </a:r>
            <a:endParaRPr lang="cs-CZ" sz="800" b="1" dirty="0">
              <a:solidFill>
                <a:srgbClr val="FFFFFF"/>
              </a:solidFill>
            </a:endParaRPr>
          </a:p>
        </p:txBody>
      </p:sp>
      <p:sp>
        <p:nvSpPr>
          <p:cNvPr id="8274" name="Oval 75"/>
          <p:cNvSpPr>
            <a:spLocks noChangeArrowheads="1"/>
          </p:cNvSpPr>
          <p:nvPr>
            <p:custDataLst>
              <p:tags r:id="rId82"/>
            </p:custDataLst>
          </p:nvPr>
        </p:nvSpPr>
        <p:spPr bwMode="auto">
          <a:xfrm>
            <a:off x="7847013" y="5070475"/>
            <a:ext cx="449263" cy="165100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cs-CZ" sz="800" b="1" dirty="0" smtClean="0">
                <a:solidFill>
                  <a:srgbClr val="FFFFFF"/>
                </a:solidFill>
              </a:rPr>
              <a:t>Zastavit</a:t>
            </a:r>
            <a:endParaRPr lang="cs-CZ" sz="800" b="1" dirty="0">
              <a:solidFill>
                <a:srgbClr val="FFFFFF"/>
              </a:solidFill>
            </a:endParaRPr>
          </a:p>
        </p:txBody>
      </p:sp>
      <p:sp>
        <p:nvSpPr>
          <p:cNvPr id="8275" name="Rectangle 51"/>
          <p:cNvSpPr>
            <a:spLocks noChangeArrowheads="1"/>
          </p:cNvSpPr>
          <p:nvPr>
            <p:custDataLst>
              <p:tags r:id="rId83"/>
            </p:custDataLst>
          </p:nvPr>
        </p:nvSpPr>
        <p:spPr bwMode="auto">
          <a:xfrm>
            <a:off x="7827963" y="4554538"/>
            <a:ext cx="7191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anchor="ctr"/>
          <a:lstStyle/>
          <a:p>
            <a:r>
              <a:rPr lang="cs-CZ" sz="600" i="1" dirty="0" smtClean="0">
                <a:solidFill>
                  <a:srgbClr val="000000"/>
                </a:solidFill>
              </a:rPr>
              <a:t>Spodní hranice</a:t>
            </a:r>
            <a:endParaRPr lang="cs-CZ" sz="600" i="1" dirty="0">
              <a:solidFill>
                <a:srgbClr val="000000"/>
              </a:solidFill>
            </a:endParaRPr>
          </a:p>
        </p:txBody>
      </p:sp>
      <p:sp>
        <p:nvSpPr>
          <p:cNvPr id="8276" name="AutoShape 70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7731125" y="4281488"/>
            <a:ext cx="95250" cy="287338"/>
          </a:xfrm>
          <a:prstGeom prst="rightBrace">
            <a:avLst>
              <a:gd name="adj1" fmla="val 65668"/>
              <a:gd name="adj2" fmla="val 50000"/>
            </a:avLst>
          </a:prstGeom>
          <a:noFill/>
          <a:ln w="12700">
            <a:solidFill>
              <a:schemeClr val="accent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tIns="72000" rIns="72000" bIns="72000" anchor="ctr"/>
          <a:lstStyle/>
          <a:p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8277" name="AutoShape 70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7731125" y="4668838"/>
            <a:ext cx="95250" cy="966788"/>
          </a:xfrm>
          <a:prstGeom prst="rightBrace">
            <a:avLst>
              <a:gd name="adj1" fmla="val 65928"/>
              <a:gd name="adj2" fmla="val 50000"/>
            </a:avLst>
          </a:prstGeom>
          <a:noFill/>
          <a:ln w="12700">
            <a:solidFill>
              <a:schemeClr val="accent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tIns="72000" rIns="72000" bIns="72000" anchor="ctr"/>
          <a:lstStyle/>
          <a:p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8278" name="Oval 73"/>
          <p:cNvSpPr>
            <a:spLocks noChangeArrowheads="1"/>
          </p:cNvSpPr>
          <p:nvPr>
            <p:custDataLst>
              <p:tags r:id="rId86"/>
            </p:custDataLst>
          </p:nvPr>
        </p:nvSpPr>
        <p:spPr bwMode="auto">
          <a:xfrm>
            <a:off x="5160963" y="3346450"/>
            <a:ext cx="1000125" cy="368300"/>
          </a:xfrm>
          <a:prstGeom prst="ellipse">
            <a:avLst/>
          </a:prstGeom>
          <a:solidFill>
            <a:schemeClr val="tx2"/>
          </a:solidFill>
          <a:ln w="6350" algn="ctr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cs-CZ" sz="1000" b="1" i="1" dirty="0" smtClean="0">
                <a:solidFill>
                  <a:schemeClr val="bg1"/>
                </a:solidFill>
              </a:rPr>
              <a:t>Normalizace</a:t>
            </a:r>
            <a:endParaRPr lang="cs-CZ" sz="1000" b="1" i="1" dirty="0">
              <a:solidFill>
                <a:schemeClr val="bg1"/>
              </a:solidFill>
            </a:endParaRPr>
          </a:p>
        </p:txBody>
      </p:sp>
      <p:cxnSp>
        <p:nvCxnSpPr>
          <p:cNvPr id="87" name="Straight Arrow Connector 86"/>
          <p:cNvCxnSpPr/>
          <p:nvPr>
            <p:custDataLst>
              <p:tags r:id="rId87"/>
            </p:custDataLst>
          </p:nvPr>
        </p:nvCxnSpPr>
        <p:spPr>
          <a:xfrm rot="5400000">
            <a:off x="5392738" y="3994150"/>
            <a:ext cx="539750" cy="0"/>
          </a:xfrm>
          <a:prstGeom prst="straightConnector1">
            <a:avLst/>
          </a:prstGeom>
          <a:ln w="38100" cap="rnd">
            <a:solidFill>
              <a:schemeClr val="bg2"/>
            </a:solidFill>
            <a:prstDash val="soli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>
            <p:custDataLst>
              <p:tags r:id="rId88"/>
            </p:custDataLst>
          </p:nvPr>
        </p:nvCxnSpPr>
        <p:spPr>
          <a:xfrm rot="5400000">
            <a:off x="5418137" y="4876800"/>
            <a:ext cx="487363" cy="1588"/>
          </a:xfrm>
          <a:prstGeom prst="straightConnector1">
            <a:avLst/>
          </a:prstGeom>
          <a:ln w="38100" cap="rnd">
            <a:solidFill>
              <a:schemeClr val="bg2"/>
            </a:solidFill>
            <a:prstDash val="soli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281" name="Object 5"/>
          <p:cNvGraphicFramePr>
            <a:graphicFrameLocks noChangeAspect="1"/>
          </p:cNvGraphicFramePr>
          <p:nvPr>
            <p:custDataLst>
              <p:tags r:id="rId89"/>
            </p:custDataLst>
            <p:extLst>
              <p:ext uri="{D42A27DB-BD31-4B8C-83A1-F6EECF244321}">
                <p14:modId xmlns:p14="http://schemas.microsoft.com/office/powerpoint/2010/main" val="1726049956"/>
              </p:ext>
            </p:extLst>
          </p:nvPr>
        </p:nvGraphicFramePr>
        <p:xfrm>
          <a:off x="4957763" y="3603625"/>
          <a:ext cx="138105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83" name="Chart" r:id="rId114" imgW="1381050" imgH="914400" progId="MSGraph.Chart.8">
                  <p:embed followColorScheme="full"/>
                </p:oleObj>
              </mc:Choice>
              <mc:Fallback>
                <p:oleObj name="Chart" r:id="rId114" imgW="1381050" imgH="91440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57763" y="3603625"/>
                        <a:ext cx="1381050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82" name="AutoShape 50"/>
          <p:cNvSpPr>
            <a:spLocks noChangeArrowheads="1"/>
          </p:cNvSpPr>
          <p:nvPr>
            <p:custDataLst>
              <p:tags r:id="rId90"/>
            </p:custDataLst>
          </p:nvPr>
        </p:nvSpPr>
        <p:spPr bwMode="auto">
          <a:xfrm>
            <a:off x="5227638" y="3732213"/>
            <a:ext cx="55562" cy="61913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91" name="Rectangle 19"/>
          <p:cNvSpPr>
            <a:spLocks noChangeArrowheads="1"/>
          </p:cNvSpPr>
          <p:nvPr>
            <p:custDataLst>
              <p:tags r:id="rId91"/>
            </p:custDataLst>
          </p:nvPr>
        </p:nvSpPr>
        <p:spPr bwMode="gray">
          <a:xfrm>
            <a:off x="371475" y="3121025"/>
            <a:ext cx="206402" cy="2722565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vert="vert270" wrap="none" lIns="95130" tIns="47565" rIns="95130" bIns="47565" anchor="ctr"/>
          <a:lstStyle/>
          <a:p>
            <a:pPr algn="ctr" defTabSz="931863">
              <a:defRPr/>
            </a:pPr>
            <a:r>
              <a:rPr lang="cs-CZ" sz="12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Projekty</a:t>
            </a:r>
            <a:endParaRPr lang="cs-CZ" sz="12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8284" name="TextBox 38"/>
          <p:cNvSpPr txBox="1">
            <a:spLocks noChangeArrowheads="1"/>
          </p:cNvSpPr>
          <p:nvPr>
            <p:custDataLst>
              <p:tags r:id="rId92"/>
            </p:custDataLst>
          </p:nvPr>
        </p:nvSpPr>
        <p:spPr bwMode="gray">
          <a:xfrm>
            <a:off x="5054600" y="2125663"/>
            <a:ext cx="1106488" cy="193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cs-CZ" sz="1400" b="1" dirty="0" smtClean="0">
                <a:solidFill>
                  <a:srgbClr val="000000"/>
                </a:solidFill>
              </a:rPr>
              <a:t>Třídění</a:t>
            </a:r>
            <a:endParaRPr lang="cs-CZ" sz="1400" dirty="0">
              <a:solidFill>
                <a:srgbClr val="000000"/>
              </a:solidFill>
            </a:endParaRPr>
          </a:p>
        </p:txBody>
      </p:sp>
      <p:sp>
        <p:nvSpPr>
          <p:cNvPr id="8285" name="Text Box 115"/>
          <p:cNvSpPr txBox="1">
            <a:spLocks noChangeArrowheads="1"/>
          </p:cNvSpPr>
          <p:nvPr>
            <p:custDataLst>
              <p:tags r:id="rId93"/>
            </p:custDataLst>
          </p:nvPr>
        </p:nvSpPr>
        <p:spPr bwMode="gray">
          <a:xfrm>
            <a:off x="5043488" y="4633913"/>
            <a:ext cx="619125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800" dirty="0" smtClean="0">
                <a:solidFill>
                  <a:srgbClr val="000000"/>
                </a:solidFill>
              </a:rPr>
              <a:t>KPI     x a%</a:t>
            </a:r>
          </a:p>
          <a:p>
            <a:pPr eaLnBrk="1" hangingPunct="1"/>
            <a:r>
              <a:rPr lang="cs-CZ" sz="800" dirty="0" smtClean="0">
                <a:solidFill>
                  <a:srgbClr val="000000"/>
                </a:solidFill>
              </a:rPr>
              <a:t>KPI     x b%</a:t>
            </a:r>
          </a:p>
          <a:p>
            <a:pPr eaLnBrk="1" hangingPunct="1"/>
            <a:r>
              <a:rPr lang="cs-CZ" sz="800" dirty="0" smtClean="0">
                <a:solidFill>
                  <a:srgbClr val="000000"/>
                </a:solidFill>
              </a:rPr>
              <a:t>KPI     x c%</a:t>
            </a:r>
          </a:p>
          <a:p>
            <a:pPr eaLnBrk="1" hangingPunct="1"/>
            <a:r>
              <a:rPr lang="cs-CZ" sz="800" dirty="0" smtClean="0">
                <a:solidFill>
                  <a:srgbClr val="000000"/>
                </a:solidFill>
              </a:rPr>
              <a:t>KPI     x d%</a:t>
            </a:r>
            <a:endParaRPr lang="cs-CZ" sz="800" dirty="0">
              <a:solidFill>
                <a:srgbClr val="000000"/>
              </a:solidFill>
            </a:endParaRPr>
          </a:p>
        </p:txBody>
      </p:sp>
      <p:sp>
        <p:nvSpPr>
          <p:cNvPr id="8286" name="Oval 73"/>
          <p:cNvSpPr>
            <a:spLocks noChangeArrowheads="1"/>
          </p:cNvSpPr>
          <p:nvPr>
            <p:custDataLst>
              <p:tags r:id="rId94"/>
            </p:custDataLst>
          </p:nvPr>
        </p:nvSpPr>
        <p:spPr bwMode="auto">
          <a:xfrm>
            <a:off x="5160963" y="4264025"/>
            <a:ext cx="1000125" cy="368300"/>
          </a:xfrm>
          <a:prstGeom prst="ellipse">
            <a:avLst/>
          </a:prstGeom>
          <a:solidFill>
            <a:schemeClr val="tx2"/>
          </a:solidFill>
          <a:ln w="6350" algn="ctr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cs-CZ" sz="1000" b="1" i="1" dirty="0" smtClean="0">
                <a:solidFill>
                  <a:schemeClr val="bg1"/>
                </a:solidFill>
              </a:rPr>
              <a:t>Vážení</a:t>
            </a:r>
            <a:endParaRPr lang="cs-CZ" sz="1000" b="1" i="1" dirty="0">
              <a:solidFill>
                <a:schemeClr val="bg1"/>
              </a:solidFill>
            </a:endParaRPr>
          </a:p>
        </p:txBody>
      </p:sp>
      <p:sp>
        <p:nvSpPr>
          <p:cNvPr id="8287" name="Oval 73"/>
          <p:cNvSpPr>
            <a:spLocks noChangeArrowheads="1"/>
          </p:cNvSpPr>
          <p:nvPr>
            <p:custDataLst>
              <p:tags r:id="rId95"/>
            </p:custDataLst>
          </p:nvPr>
        </p:nvSpPr>
        <p:spPr bwMode="auto">
          <a:xfrm>
            <a:off x="5160963" y="5138738"/>
            <a:ext cx="1000125" cy="598488"/>
          </a:xfrm>
          <a:prstGeom prst="ellipse">
            <a:avLst/>
          </a:prstGeom>
          <a:solidFill>
            <a:schemeClr val="tx2"/>
          </a:solidFill>
          <a:ln w="6350" algn="ctr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cs-CZ" sz="1000" b="1" i="1" dirty="0" smtClean="0">
                <a:solidFill>
                  <a:schemeClr val="bg1"/>
                </a:solidFill>
              </a:rPr>
              <a:t>Součet</a:t>
            </a:r>
            <a:br>
              <a:rPr lang="cs-CZ" sz="1000" b="1" i="1" dirty="0" smtClean="0">
                <a:solidFill>
                  <a:schemeClr val="bg1"/>
                </a:solidFill>
              </a:rPr>
            </a:br>
            <a:r>
              <a:rPr lang="cs-CZ" sz="1000" b="1" i="1" dirty="0" smtClean="0">
                <a:solidFill>
                  <a:schemeClr val="bg1"/>
                </a:solidFill>
              </a:rPr>
              <a:t>vážených </a:t>
            </a:r>
            <a:br>
              <a:rPr lang="cs-CZ" sz="1000" b="1" i="1" dirty="0" smtClean="0">
                <a:solidFill>
                  <a:schemeClr val="bg1"/>
                </a:solidFill>
              </a:rPr>
            </a:br>
            <a:r>
              <a:rPr lang="cs-CZ" sz="1000" b="1" i="1" dirty="0" smtClean="0">
                <a:solidFill>
                  <a:schemeClr val="bg1"/>
                </a:solidFill>
              </a:rPr>
              <a:t>bodů</a:t>
            </a:r>
            <a:endParaRPr lang="cs-CZ" sz="1000" b="1" i="1" dirty="0">
              <a:solidFill>
                <a:schemeClr val="bg1"/>
              </a:solidFill>
            </a:endParaRPr>
          </a:p>
        </p:txBody>
      </p:sp>
      <p:sp>
        <p:nvSpPr>
          <p:cNvPr id="8291" name="Text Box 35"/>
          <p:cNvSpPr txBox="1">
            <a:spLocks noChangeArrowheads="1"/>
          </p:cNvSpPr>
          <p:nvPr>
            <p:custDataLst>
              <p:tags r:id="rId96"/>
            </p:custDataLst>
          </p:nvPr>
        </p:nvSpPr>
        <p:spPr bwMode="gray">
          <a:xfrm>
            <a:off x="3987354" y="4087813"/>
            <a:ext cx="728662" cy="184666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b="1" dirty="0" smtClean="0">
                <a:solidFill>
                  <a:srgbClr val="000000"/>
                </a:solidFill>
              </a:rPr>
              <a:t>Konkurence-</a:t>
            </a:r>
            <a:br>
              <a:rPr lang="cs-CZ" sz="600" b="1" dirty="0" smtClean="0">
                <a:solidFill>
                  <a:srgbClr val="000000"/>
                </a:solidFill>
              </a:rPr>
            </a:br>
            <a:r>
              <a:rPr lang="cs-CZ" sz="600" b="1" dirty="0" smtClean="0">
                <a:solidFill>
                  <a:srgbClr val="000000"/>
                </a:solidFill>
              </a:rPr>
              <a:t>schopnost</a:t>
            </a:r>
            <a:endParaRPr lang="cs-CZ" sz="600" b="1" dirty="0">
              <a:solidFill>
                <a:srgbClr val="FFFFFF"/>
              </a:solidFill>
            </a:endParaRPr>
          </a:p>
        </p:txBody>
      </p:sp>
      <p:sp>
        <p:nvSpPr>
          <p:cNvPr id="8292" name="Text Box 36"/>
          <p:cNvSpPr txBox="1">
            <a:spLocks noChangeArrowheads="1"/>
          </p:cNvSpPr>
          <p:nvPr>
            <p:custDataLst>
              <p:tags r:id="rId97"/>
            </p:custDataLst>
          </p:nvPr>
        </p:nvSpPr>
        <p:spPr bwMode="gray">
          <a:xfrm>
            <a:off x="3779912" y="4133850"/>
            <a:ext cx="223838" cy="18415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dirty="0" smtClean="0">
                <a:solidFill>
                  <a:srgbClr val="000000"/>
                </a:solidFill>
              </a:rPr>
              <a:t>x</a:t>
            </a:r>
            <a:endParaRPr lang="cs-CZ" sz="600" dirty="0">
              <a:solidFill>
                <a:srgbClr val="000000"/>
              </a:solidFill>
            </a:endParaRPr>
          </a:p>
        </p:txBody>
      </p:sp>
      <p:sp>
        <p:nvSpPr>
          <p:cNvPr id="8293" name="Text Box 36"/>
          <p:cNvSpPr txBox="1">
            <a:spLocks noChangeArrowheads="1"/>
          </p:cNvSpPr>
          <p:nvPr>
            <p:custDataLst>
              <p:tags r:id="rId98"/>
            </p:custDataLst>
          </p:nvPr>
        </p:nvSpPr>
        <p:spPr bwMode="gray">
          <a:xfrm>
            <a:off x="3753434" y="2890838"/>
            <a:ext cx="223837" cy="18415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sz="600" dirty="0" smtClean="0">
                <a:solidFill>
                  <a:srgbClr val="000000"/>
                </a:solidFill>
              </a:rPr>
              <a:t>x</a:t>
            </a:r>
            <a:endParaRPr lang="cs-CZ" sz="600" dirty="0">
              <a:solidFill>
                <a:srgbClr val="000000"/>
              </a:solidFill>
            </a:endParaRPr>
          </a:p>
        </p:txBody>
      </p:sp>
      <p:pic>
        <p:nvPicPr>
          <p:cNvPr id="8294" name="Picture 220"/>
          <p:cNvPicPr>
            <a:picLocks noChangeAspect="1" noChangeArrowheads="1"/>
          </p:cNvPicPr>
          <p:nvPr>
            <p:custDataLst>
              <p:tags r:id="rId99"/>
            </p:custDataLst>
          </p:nvPr>
        </p:nvPicPr>
        <p:blipFill>
          <a:blip r:embed="rId1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393"/>
          <a:stretch>
            <a:fillRect/>
          </a:stretch>
        </p:blipFill>
        <p:spPr bwMode="auto">
          <a:xfrm>
            <a:off x="585788" y="3125728"/>
            <a:ext cx="1716087" cy="2758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1" name="Rectangle 210"/>
          <p:cNvSpPr/>
          <p:nvPr>
            <p:custDataLst>
              <p:tags r:id="rId100"/>
            </p:custDataLst>
          </p:nvPr>
        </p:nvSpPr>
        <p:spPr>
          <a:xfrm>
            <a:off x="2090738" y="5832475"/>
            <a:ext cx="287337" cy="66675"/>
          </a:xfrm>
          <a:prstGeom prst="rect">
            <a:avLst/>
          </a:prstGeom>
          <a:solidFill>
            <a:schemeClr val="bg1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1200"/>
              </a:spcBef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8299" name="TextBox 17408"/>
          <p:cNvSpPr txBox="1">
            <a:spLocks noChangeArrowheads="1"/>
          </p:cNvSpPr>
          <p:nvPr>
            <p:custDataLst>
              <p:tags r:id="rId101"/>
            </p:custDataLst>
          </p:nvPr>
        </p:nvSpPr>
        <p:spPr bwMode="auto">
          <a:xfrm>
            <a:off x="245110" y="6368288"/>
            <a:ext cx="64008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noAutofit/>
          </a:bodyPr>
          <a:lstStyle>
            <a:lvl1pPr marL="136525" indent="-13652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37160" indent="-137160" eaLnBrk="1" hangingPunct="1">
              <a:lnSpc>
                <a:spcPct val="90000"/>
              </a:lnSpc>
            </a:pPr>
            <a:endParaRPr lang="cs-CZ" sz="800" dirty="0" smtClean="0">
              <a:latin typeface="Arial"/>
            </a:endParaRPr>
          </a:p>
          <a:p>
            <a:pPr marL="137160" indent="-137160" eaLnBrk="1" hangingPunct="1">
              <a:lnSpc>
                <a:spcPct val="90000"/>
              </a:lnSpc>
            </a:pPr>
            <a:r>
              <a:rPr lang="cs-CZ" sz="800" dirty="0" smtClean="0">
                <a:latin typeface="Arial"/>
              </a:rPr>
              <a:t>1. ECV = Expected Commercial Value = Očekávaný komerční přínos</a:t>
            </a:r>
          </a:p>
          <a:p>
            <a:pPr marL="137160" indent="-137160" eaLnBrk="1" hangingPunct="1">
              <a:lnSpc>
                <a:spcPct val="90000"/>
              </a:lnSpc>
            </a:pPr>
            <a:r>
              <a:rPr lang="cs-CZ" sz="800" dirty="0" smtClean="0">
                <a:latin typeface="Arial"/>
              </a:rPr>
              <a:t>Zdroj: A.T. Kearney</a:t>
            </a:r>
            <a:endParaRPr lang="cs-CZ" sz="800" dirty="0">
              <a:latin typeface="Arial"/>
            </a:endParaRPr>
          </a:p>
        </p:txBody>
      </p:sp>
      <p:sp>
        <p:nvSpPr>
          <p:cNvPr id="214" name="Oval 213"/>
          <p:cNvSpPr/>
          <p:nvPr>
            <p:custDataLst>
              <p:tags r:id="rId102"/>
            </p:custDataLst>
          </p:nvPr>
        </p:nvSpPr>
        <p:spPr>
          <a:xfrm>
            <a:off x="246380" y="804672"/>
            <a:ext cx="279400" cy="279400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cs-CZ" sz="1600" b="1" dirty="0">
                <a:solidFill>
                  <a:schemeClr val="bg1"/>
                </a:solidFill>
                <a:latin typeface="Arial"/>
                <a:cs typeface="Arial" pitchFamily="34" charset="0"/>
              </a:rPr>
              <a:t>5</a:t>
            </a:r>
            <a:endParaRPr lang="cs-CZ" sz="1600" b="1" dirty="0" smtClean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216" name="TextBox 215"/>
          <p:cNvSpPr txBox="1"/>
          <p:nvPr>
            <p:custDataLst>
              <p:tags r:id="rId103"/>
            </p:custDataLst>
          </p:nvPr>
        </p:nvSpPr>
        <p:spPr>
          <a:xfrm>
            <a:off x="7529223" y="1628140"/>
            <a:ext cx="1362682" cy="302968"/>
          </a:xfrm>
          <a:prstGeom prst="rect">
            <a:avLst/>
          </a:prstGeom>
          <a:solidFill>
            <a:schemeClr val="accent2"/>
          </a:solidFill>
          <a:ln w="6350" cap="flat">
            <a:noFill/>
            <a:miter lim="800000"/>
          </a:ln>
          <a:extLs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vert="horz" wrap="none" lIns="108014" tIns="54007" rIns="108014" bIns="54007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400" dirty="0" smtClean="0">
                <a:solidFill>
                  <a:schemeClr val="accent4"/>
                </a:solidFill>
                <a:latin typeface="Arial"/>
                <a:cs typeface="Arial"/>
              </a:rPr>
              <a:t>Nejlepší praxe</a:t>
            </a:r>
          </a:p>
        </p:txBody>
      </p:sp>
      <p:sp>
        <p:nvSpPr>
          <p:cNvPr id="218" name="TextBox 217"/>
          <p:cNvSpPr txBox="1"/>
          <p:nvPr>
            <p:custDataLst>
              <p:tags r:id="rId104"/>
            </p:custDataLst>
          </p:nvPr>
        </p:nvSpPr>
        <p:spPr>
          <a:xfrm>
            <a:off x="7621358" y="139700"/>
            <a:ext cx="1271182" cy="1661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200" dirty="0" smtClean="0">
                <a:latin typeface="Arial"/>
              </a:rPr>
              <a:t>Faktor úspěchu </a:t>
            </a:r>
            <a:r>
              <a:rPr lang="en-US" sz="1200" dirty="0" smtClean="0">
                <a:latin typeface="Arial"/>
              </a:rPr>
              <a:t>#</a:t>
            </a:r>
            <a:r>
              <a:rPr lang="cs-CZ" sz="1200" dirty="0" smtClean="0">
                <a:latin typeface="Arial"/>
              </a:rPr>
              <a:t>5</a:t>
            </a:r>
            <a:endParaRPr lang="cs-CZ" sz="1200" dirty="0" smtClean="0">
              <a:latin typeface="Arial"/>
            </a:endParaRPr>
          </a:p>
        </p:txBody>
      </p:sp>
      <p:grpSp>
        <p:nvGrpSpPr>
          <p:cNvPr id="217" name="Group 216"/>
          <p:cNvGrpSpPr/>
          <p:nvPr>
            <p:custDataLst>
              <p:tags r:id="rId105"/>
            </p:custDataLst>
          </p:nvPr>
        </p:nvGrpSpPr>
        <p:grpSpPr>
          <a:xfrm>
            <a:off x="359532" y="3116263"/>
            <a:ext cx="2047025" cy="3024336"/>
            <a:chOff x="3536950" y="6372224"/>
            <a:chExt cx="2659093" cy="2055535"/>
          </a:xfrm>
        </p:grpSpPr>
        <p:sp>
          <p:nvSpPr>
            <p:cNvPr id="219" name="Freeform 45"/>
            <p:cNvSpPr>
              <a:spLocks/>
            </p:cNvSpPr>
            <p:nvPr/>
          </p:nvSpPr>
          <p:spPr bwMode="auto">
            <a:xfrm>
              <a:off x="3536950" y="6372224"/>
              <a:ext cx="2659093" cy="2055535"/>
            </a:xfrm>
            <a:custGeom>
              <a:avLst/>
              <a:gdLst>
                <a:gd name="T0" fmla="*/ 2850 w 2922"/>
                <a:gd name="T1" fmla="*/ 0 h 1841"/>
                <a:gd name="T2" fmla="*/ 2626 w 2922"/>
                <a:gd name="T3" fmla="*/ 0 h 1841"/>
                <a:gd name="T4" fmla="*/ 2631 w 2922"/>
                <a:gd name="T5" fmla="*/ 1547 h 1841"/>
                <a:gd name="T6" fmla="*/ 0 w 2922"/>
                <a:gd name="T7" fmla="*/ 1547 h 1841"/>
                <a:gd name="T8" fmla="*/ 0 w 2922"/>
                <a:gd name="T9" fmla="*/ 1721 h 1841"/>
                <a:gd name="T10" fmla="*/ 2866 w 2922"/>
                <a:gd name="T11" fmla="*/ 1753 h 184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22"/>
                <a:gd name="T19" fmla="*/ 0 h 1841"/>
                <a:gd name="T20" fmla="*/ 2922 w 2922"/>
                <a:gd name="T21" fmla="*/ 1841 h 184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22" h="1841">
                  <a:moveTo>
                    <a:pt x="2850" y="0"/>
                  </a:moveTo>
                  <a:cubicBezTo>
                    <a:pt x="2813" y="0"/>
                    <a:pt x="2738" y="0"/>
                    <a:pt x="2626" y="0"/>
                  </a:cubicBezTo>
                  <a:cubicBezTo>
                    <a:pt x="2534" y="652"/>
                    <a:pt x="2922" y="1030"/>
                    <a:pt x="2631" y="1547"/>
                  </a:cubicBezTo>
                  <a:cubicBezTo>
                    <a:pt x="1558" y="1199"/>
                    <a:pt x="1650" y="1841"/>
                    <a:pt x="0" y="1547"/>
                  </a:cubicBezTo>
                  <a:lnTo>
                    <a:pt x="0" y="1721"/>
                  </a:lnTo>
                  <a:cubicBezTo>
                    <a:pt x="478" y="1755"/>
                    <a:pt x="2269" y="1746"/>
                    <a:pt x="2866" y="1753"/>
                  </a:cubicBezTo>
                </a:path>
              </a:pathLst>
            </a:custGeom>
            <a:solidFill>
              <a:schemeClr val="accent2"/>
            </a:solidFill>
            <a:ln w="12700">
              <a:noFill/>
              <a:round/>
              <a:headEnd/>
              <a:tailEnd/>
            </a:ln>
          </p:spPr>
          <p:txBody>
            <a:bodyPr lIns="72000" tIns="72000" rIns="72000" bIns="72000">
              <a:noAutofit/>
            </a:bodyPr>
            <a:lstStyle/>
            <a:p>
              <a:endParaRPr lang="fr-FR" dirty="0"/>
            </a:p>
          </p:txBody>
        </p:sp>
        <p:sp>
          <p:nvSpPr>
            <p:cNvPr id="220" name="Freeform 43"/>
            <p:cNvSpPr>
              <a:spLocks/>
            </p:cNvSpPr>
            <p:nvPr/>
          </p:nvSpPr>
          <p:spPr bwMode="auto">
            <a:xfrm>
              <a:off x="3536950" y="6372224"/>
              <a:ext cx="2659093" cy="2048836"/>
            </a:xfrm>
            <a:custGeom>
              <a:avLst/>
              <a:gdLst>
                <a:gd name="T0" fmla="*/ 2626 w 2922"/>
                <a:gd name="T1" fmla="*/ 0 h 1835"/>
                <a:gd name="T2" fmla="*/ 2631 w 2922"/>
                <a:gd name="T3" fmla="*/ 1547 h 1835"/>
                <a:gd name="T4" fmla="*/ 0 w 2922"/>
                <a:gd name="T5" fmla="*/ 1547 h 1835"/>
                <a:gd name="T6" fmla="*/ 0 60000 65536"/>
                <a:gd name="T7" fmla="*/ 0 60000 65536"/>
                <a:gd name="T8" fmla="*/ 0 60000 65536"/>
                <a:gd name="T9" fmla="*/ 0 w 2922"/>
                <a:gd name="T10" fmla="*/ 0 h 1835"/>
                <a:gd name="T11" fmla="*/ 2922 w 2922"/>
                <a:gd name="T12" fmla="*/ 1835 h 183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922" h="1835">
                  <a:moveTo>
                    <a:pt x="2626" y="0"/>
                  </a:moveTo>
                  <a:cubicBezTo>
                    <a:pt x="2534" y="652"/>
                    <a:pt x="2922" y="1030"/>
                    <a:pt x="2631" y="1547"/>
                  </a:cubicBezTo>
                  <a:cubicBezTo>
                    <a:pt x="1558" y="1199"/>
                    <a:pt x="1612" y="1835"/>
                    <a:pt x="0" y="1547"/>
                  </a:cubicBezTo>
                </a:path>
              </a:pathLst>
            </a:custGeom>
            <a:noFill/>
            <a:ln w="6350">
              <a:solidFill>
                <a:srgbClr val="ADABA1"/>
              </a:solidFill>
              <a:miter lim="800000"/>
              <a:headEnd/>
              <a:tailEnd/>
            </a:ln>
          </p:spPr>
          <p:txBody>
            <a:bodyPr lIns="72000" tIns="72000" rIns="72000" bIns="72000">
              <a:noAutofit/>
            </a:bodyPr>
            <a:lstStyle/>
            <a:p>
              <a:endParaRPr lang="fr-FR" dirty="0"/>
            </a:p>
          </p:txBody>
        </p:sp>
      </p:grpSp>
      <p:grpSp>
        <p:nvGrpSpPr>
          <p:cNvPr id="221" name="Group 220"/>
          <p:cNvGrpSpPr/>
          <p:nvPr>
            <p:custDataLst>
              <p:tags r:id="rId106"/>
            </p:custDataLst>
          </p:nvPr>
        </p:nvGrpSpPr>
        <p:grpSpPr bwMode="gray">
          <a:xfrm>
            <a:off x="8528050" y="3765736"/>
            <a:ext cx="135854" cy="360040"/>
            <a:chOff x="6519270" y="3075286"/>
            <a:chExt cx="432000" cy="1144883"/>
          </a:xfrm>
        </p:grpSpPr>
        <p:sp>
          <p:nvSpPr>
            <p:cNvPr id="222" name="AutoShape 367"/>
            <p:cNvSpPr>
              <a:spLocks noChangeArrowheads="1"/>
            </p:cNvSpPr>
            <p:nvPr/>
          </p:nvSpPr>
          <p:spPr bwMode="gray">
            <a:xfrm>
              <a:off x="6519270" y="3075286"/>
              <a:ext cx="432000" cy="1144883"/>
            </a:xfrm>
            <a:prstGeom prst="rect">
              <a:avLst/>
            </a:prstGeom>
            <a:solidFill>
              <a:schemeClr val="accent3"/>
            </a:solidFill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en-US" sz="1400" dirty="0"/>
            </a:p>
          </p:txBody>
        </p:sp>
        <p:sp>
          <p:nvSpPr>
            <p:cNvPr id="223" name="Oval 370"/>
            <p:cNvSpPr>
              <a:spLocks noChangeArrowheads="1"/>
            </p:cNvSpPr>
            <p:nvPr/>
          </p:nvSpPr>
          <p:spPr bwMode="gray">
            <a:xfrm>
              <a:off x="6600270" y="3156965"/>
              <a:ext cx="270000" cy="268428"/>
            </a:xfrm>
            <a:prstGeom prst="ellipse">
              <a:avLst/>
            </a:prstGeom>
            <a:solidFill>
              <a:schemeClr val="bg1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en-US" sz="1400" dirty="0"/>
            </a:p>
          </p:txBody>
        </p:sp>
        <p:sp>
          <p:nvSpPr>
            <p:cNvPr id="224" name="Oval 376"/>
            <p:cNvSpPr>
              <a:spLocks noChangeArrowheads="1"/>
            </p:cNvSpPr>
            <p:nvPr/>
          </p:nvSpPr>
          <p:spPr bwMode="gray">
            <a:xfrm>
              <a:off x="6600270" y="3513513"/>
              <a:ext cx="270000" cy="268428"/>
            </a:xfrm>
            <a:prstGeom prst="ellipse">
              <a:avLst/>
            </a:prstGeom>
            <a:solidFill>
              <a:schemeClr val="bg1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en-US" sz="1400" dirty="0"/>
            </a:p>
          </p:txBody>
        </p:sp>
        <p:sp>
          <p:nvSpPr>
            <p:cNvPr id="225" name="Oval 381"/>
            <p:cNvSpPr>
              <a:spLocks noChangeArrowheads="1"/>
            </p:cNvSpPr>
            <p:nvPr/>
          </p:nvSpPr>
          <p:spPr bwMode="gray">
            <a:xfrm>
              <a:off x="6600270" y="3870061"/>
              <a:ext cx="270000" cy="268428"/>
            </a:xfrm>
            <a:prstGeom prst="ellipse">
              <a:avLst/>
            </a:prstGeom>
            <a:solidFill>
              <a:srgbClr val="289055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en-US" sz="1400" dirty="0"/>
            </a:p>
          </p:txBody>
        </p:sp>
      </p:grpSp>
      <p:grpSp>
        <p:nvGrpSpPr>
          <p:cNvPr id="226" name="Group 225"/>
          <p:cNvGrpSpPr/>
          <p:nvPr>
            <p:custDataLst>
              <p:tags r:id="rId107"/>
            </p:custDataLst>
          </p:nvPr>
        </p:nvGrpSpPr>
        <p:grpSpPr bwMode="gray">
          <a:xfrm>
            <a:off x="8528050" y="4225342"/>
            <a:ext cx="135854" cy="360040"/>
            <a:chOff x="6519270" y="3075286"/>
            <a:chExt cx="432000" cy="1144883"/>
          </a:xfrm>
        </p:grpSpPr>
        <p:sp>
          <p:nvSpPr>
            <p:cNvPr id="227" name="AutoShape 367"/>
            <p:cNvSpPr>
              <a:spLocks noChangeArrowheads="1"/>
            </p:cNvSpPr>
            <p:nvPr/>
          </p:nvSpPr>
          <p:spPr bwMode="gray">
            <a:xfrm>
              <a:off x="6519270" y="3075286"/>
              <a:ext cx="432000" cy="1144883"/>
            </a:xfrm>
            <a:prstGeom prst="rect">
              <a:avLst/>
            </a:prstGeom>
            <a:solidFill>
              <a:schemeClr val="accent3"/>
            </a:solidFill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en-US" sz="1400" dirty="0"/>
            </a:p>
          </p:txBody>
        </p:sp>
        <p:sp>
          <p:nvSpPr>
            <p:cNvPr id="228" name="Oval 370"/>
            <p:cNvSpPr>
              <a:spLocks noChangeArrowheads="1"/>
            </p:cNvSpPr>
            <p:nvPr/>
          </p:nvSpPr>
          <p:spPr bwMode="gray">
            <a:xfrm>
              <a:off x="6600270" y="3156965"/>
              <a:ext cx="270000" cy="268428"/>
            </a:xfrm>
            <a:prstGeom prst="ellipse">
              <a:avLst/>
            </a:prstGeom>
            <a:solidFill>
              <a:schemeClr val="bg1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en-US" sz="1400" dirty="0"/>
            </a:p>
          </p:txBody>
        </p:sp>
        <p:sp>
          <p:nvSpPr>
            <p:cNvPr id="229" name="Oval 376"/>
            <p:cNvSpPr>
              <a:spLocks noChangeArrowheads="1"/>
            </p:cNvSpPr>
            <p:nvPr/>
          </p:nvSpPr>
          <p:spPr bwMode="gray">
            <a:xfrm>
              <a:off x="6600270" y="3513513"/>
              <a:ext cx="270000" cy="268428"/>
            </a:xfrm>
            <a:prstGeom prst="ellipse">
              <a:avLst/>
            </a:prstGeom>
            <a:solidFill>
              <a:srgbClr val="DCDC00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en-US" sz="1400" dirty="0"/>
            </a:p>
          </p:txBody>
        </p:sp>
        <p:sp>
          <p:nvSpPr>
            <p:cNvPr id="230" name="Oval 381"/>
            <p:cNvSpPr>
              <a:spLocks noChangeArrowheads="1"/>
            </p:cNvSpPr>
            <p:nvPr/>
          </p:nvSpPr>
          <p:spPr bwMode="gray">
            <a:xfrm>
              <a:off x="6600270" y="3870061"/>
              <a:ext cx="270000" cy="268428"/>
            </a:xfrm>
            <a:prstGeom prst="ellipse">
              <a:avLst/>
            </a:prstGeom>
            <a:solidFill>
              <a:schemeClr val="bg1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en-US" sz="1400" dirty="0"/>
            </a:p>
          </p:txBody>
        </p:sp>
      </p:grpSp>
      <p:grpSp>
        <p:nvGrpSpPr>
          <p:cNvPr id="231" name="Group 230"/>
          <p:cNvGrpSpPr/>
          <p:nvPr>
            <p:custDataLst>
              <p:tags r:id="rId108"/>
            </p:custDataLst>
          </p:nvPr>
        </p:nvGrpSpPr>
        <p:grpSpPr bwMode="gray">
          <a:xfrm>
            <a:off x="8528050" y="4964472"/>
            <a:ext cx="135854" cy="360040"/>
            <a:chOff x="6519270" y="3075286"/>
            <a:chExt cx="432000" cy="1144883"/>
          </a:xfrm>
        </p:grpSpPr>
        <p:sp>
          <p:nvSpPr>
            <p:cNvPr id="232" name="AutoShape 367"/>
            <p:cNvSpPr>
              <a:spLocks noChangeArrowheads="1"/>
            </p:cNvSpPr>
            <p:nvPr/>
          </p:nvSpPr>
          <p:spPr bwMode="gray">
            <a:xfrm>
              <a:off x="6519270" y="3075286"/>
              <a:ext cx="432000" cy="1144883"/>
            </a:xfrm>
            <a:prstGeom prst="rect">
              <a:avLst/>
            </a:prstGeom>
            <a:solidFill>
              <a:schemeClr val="accent3"/>
            </a:solidFill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en-US" sz="1400" dirty="0"/>
            </a:p>
          </p:txBody>
        </p:sp>
        <p:sp>
          <p:nvSpPr>
            <p:cNvPr id="233" name="Oval 370"/>
            <p:cNvSpPr>
              <a:spLocks noChangeArrowheads="1"/>
            </p:cNvSpPr>
            <p:nvPr/>
          </p:nvSpPr>
          <p:spPr bwMode="gray">
            <a:xfrm>
              <a:off x="6600270" y="3156965"/>
              <a:ext cx="270000" cy="268428"/>
            </a:xfrm>
            <a:prstGeom prst="ellipse">
              <a:avLst/>
            </a:prstGeom>
            <a:solidFill>
              <a:srgbClr val="9B1717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en-US" sz="1400" dirty="0"/>
            </a:p>
          </p:txBody>
        </p:sp>
        <p:sp>
          <p:nvSpPr>
            <p:cNvPr id="234" name="Oval 376"/>
            <p:cNvSpPr>
              <a:spLocks noChangeArrowheads="1"/>
            </p:cNvSpPr>
            <p:nvPr/>
          </p:nvSpPr>
          <p:spPr bwMode="gray">
            <a:xfrm>
              <a:off x="6600270" y="3513513"/>
              <a:ext cx="270000" cy="268428"/>
            </a:xfrm>
            <a:prstGeom prst="ellipse">
              <a:avLst/>
            </a:prstGeom>
            <a:solidFill>
              <a:schemeClr val="bg1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en-US" sz="1400" dirty="0"/>
            </a:p>
          </p:txBody>
        </p:sp>
        <p:sp>
          <p:nvSpPr>
            <p:cNvPr id="235" name="Oval 381"/>
            <p:cNvSpPr>
              <a:spLocks noChangeArrowheads="1"/>
            </p:cNvSpPr>
            <p:nvPr/>
          </p:nvSpPr>
          <p:spPr bwMode="gray">
            <a:xfrm>
              <a:off x="6600270" y="3870061"/>
              <a:ext cx="270000" cy="268428"/>
            </a:xfrm>
            <a:prstGeom prst="ellipse">
              <a:avLst/>
            </a:prstGeom>
            <a:solidFill>
              <a:schemeClr val="bg1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78333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44800" y="1627632"/>
            <a:ext cx="8646287" cy="1329595"/>
          </a:xfrm>
        </p:spPr>
        <p:txBody>
          <a:bodyPr/>
          <a:lstStyle/>
          <a:p>
            <a:r>
              <a:rPr lang="cs-CZ" b="1" dirty="0" smtClean="0">
                <a:solidFill>
                  <a:schemeClr val="bg2"/>
                </a:solidFill>
              </a:rPr>
              <a:t>Faktor úspěchu #6: </a:t>
            </a:r>
            <a:r>
              <a:rPr lang="cs-CZ" dirty="0" smtClean="0"/>
              <a:t>Lídři v inovacích …</a:t>
            </a:r>
            <a:br>
              <a:rPr lang="cs-CZ" dirty="0" smtClean="0"/>
            </a:b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… využívají vhodných </a:t>
            </a:r>
            <a:r>
              <a:rPr lang="cs-CZ" dirty="0" smtClean="0"/>
              <a:t>řídicích </a:t>
            </a:r>
            <a:r>
              <a:rPr lang="cs-CZ" dirty="0" smtClean="0"/>
              <a:t>struktur k prosazení funkčního prostředí inovační kultury a k určení směrů růstu</a:t>
            </a:r>
            <a:endParaRPr lang="cs-CZ" dirty="0"/>
          </a:p>
        </p:txBody>
      </p:sp>
      <p:pic>
        <p:nvPicPr>
          <p:cNvPr id="13517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6237" y="495216"/>
            <a:ext cx="1896243" cy="92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25796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8894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99" name="think-cell Slide" r:id="rId23" imgW="0" imgH="0" progId="TCLayout.ActiveDocument.1">
                  <p:embed/>
                </p:oleObj>
              </mc:Choice>
              <mc:Fallback>
                <p:oleObj name="think-cell Slide" r:id="rId23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33930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de-DE" sz="14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9461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244800" y="804672"/>
            <a:ext cx="8640000" cy="332399"/>
          </a:xfrm>
        </p:spPr>
        <p:txBody>
          <a:bodyPr wrap="square"/>
          <a:lstStyle/>
          <a:p>
            <a:pPr marL="361950"/>
            <a:r>
              <a:rPr lang="cs-CZ" dirty="0" smtClean="0"/>
              <a:t>Vítězové Best Innovator vytvářejí kulturu pro inovace</a:t>
            </a:r>
            <a:endParaRPr lang="cs-CZ" dirty="0"/>
          </a:p>
        </p:txBody>
      </p:sp>
      <p:sp>
        <p:nvSpPr>
          <p:cNvPr id="36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4475" y="1628140"/>
            <a:ext cx="6842760" cy="2492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cs-CZ" b="1" dirty="0" smtClean="0">
                <a:solidFill>
                  <a:srgbClr val="000000"/>
                </a:solidFill>
                <a:latin typeface="Arial"/>
              </a:rPr>
              <a:t>Prvky kultury inovací</a:t>
            </a:r>
            <a:endParaRPr lang="cs-CZ" b="1" baseline="30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Oval 31"/>
          <p:cNvSpPr/>
          <p:nvPr>
            <p:custDataLst>
              <p:tags r:id="rId6"/>
            </p:custDataLst>
          </p:nvPr>
        </p:nvSpPr>
        <p:spPr>
          <a:xfrm>
            <a:off x="246380" y="804672"/>
            <a:ext cx="279400" cy="279400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cs-CZ" sz="1600" b="1" dirty="0">
                <a:solidFill>
                  <a:schemeClr val="bg1"/>
                </a:solidFill>
                <a:latin typeface="Arial"/>
                <a:cs typeface="Arial" pitchFamily="34" charset="0"/>
              </a:rPr>
              <a:t>6</a:t>
            </a:r>
            <a:endParaRPr lang="cs-CZ" sz="1600" b="1" dirty="0" smtClean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27" name="Rectangle 26"/>
          <p:cNvSpPr/>
          <p:nvPr>
            <p:custDataLst>
              <p:tags r:id="rId7"/>
            </p:custDataLst>
          </p:nvPr>
        </p:nvSpPr>
        <p:spPr bwMode="gray">
          <a:xfrm>
            <a:off x="245110" y="6368288"/>
            <a:ext cx="6400800" cy="368300"/>
          </a:xfrm>
          <a:prstGeom prst="rect">
            <a:avLst/>
          </a:prstGeom>
          <a:noFill/>
          <a:ln w="6350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rnd" cmpd="sng" algn="ctr">
                <a:solidFill>
                  <a:srgbClr val="ADABA1"/>
                </a:solidFill>
                <a:prstDash val="solid"/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b" anchorCtr="0">
            <a:noAutofit/>
          </a:bodyPr>
          <a:lstStyle/>
          <a:p>
            <a:pPr marL="137160" indent="-137160">
              <a:lnSpc>
                <a:spcPct val="90000"/>
              </a:lnSpc>
              <a:defRPr/>
            </a:pPr>
            <a:endParaRPr lang="cs-CZ" sz="8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37160" indent="-137160">
              <a:lnSpc>
                <a:spcPct val="90000"/>
              </a:lnSpc>
              <a:defRPr/>
            </a:pPr>
            <a:endParaRPr lang="cs-CZ" sz="8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37160" indent="-137160">
              <a:lnSpc>
                <a:spcPct val="90000"/>
              </a:lnSpc>
              <a:defRPr/>
            </a:pPr>
            <a:r>
              <a:rPr lang="cs-CZ" sz="800" dirty="0" smtClean="0">
                <a:solidFill>
                  <a:schemeClr val="tx1"/>
                </a:solidFill>
                <a:latin typeface="Arial"/>
                <a:cs typeface="Arial" pitchFamily="34" charset="0"/>
              </a:rPr>
              <a:t>Zdroj: A.T. Kearney Best Innovator 2012</a:t>
            </a:r>
            <a:endParaRPr lang="cs-CZ" sz="800" dirty="0">
              <a:solidFill>
                <a:schemeClr val="tx1"/>
              </a:solidFill>
              <a:latin typeface="Arial"/>
              <a:cs typeface="Arial" pitchFamily="34" charset="0"/>
            </a:endParaRPr>
          </a:p>
        </p:txBody>
      </p:sp>
      <p:graphicFrame>
        <p:nvGraphicFramePr>
          <p:cNvPr id="42" name="Object 4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70200840"/>
              </p:ext>
            </p:extLst>
          </p:nvPr>
        </p:nvGraphicFramePr>
        <p:xfrm>
          <a:off x="149225" y="2376488"/>
          <a:ext cx="8772457" cy="3228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00" name="Chart" r:id="rId24" imgW="8772457" imgH="3228975" progId="MSGraph.Chart.8">
                  <p:embed followColorScheme="full"/>
                </p:oleObj>
              </mc:Choice>
              <mc:Fallback>
                <p:oleObj name="Chart" r:id="rId24" imgW="8772457" imgH="32289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49225" y="2376488"/>
                        <a:ext cx="8772457" cy="3228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/>
          <p:cNvCxnSpPr/>
          <p:nvPr>
            <p:custDataLst>
              <p:tags r:id="rId9"/>
            </p:custDataLst>
          </p:nvPr>
        </p:nvCxnSpPr>
        <p:spPr bwMode="auto">
          <a:xfrm>
            <a:off x="244475" y="2471738"/>
            <a:ext cx="8572500" cy="0"/>
          </a:xfrm>
          <a:prstGeom prst="line">
            <a:avLst/>
          </a:prstGeom>
          <a:ln w="9525" cap="flat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62" name="Rectangle 19461"/>
          <p:cNvSpPr/>
          <p:nvPr>
            <p:custDataLst>
              <p:tags r:id="rId10"/>
            </p:custDataLst>
          </p:nvPr>
        </p:nvSpPr>
        <p:spPr bwMode="auto">
          <a:xfrm>
            <a:off x="6773863" y="5605463"/>
            <a:ext cx="1944688" cy="192088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cs-CZ" sz="1400" b="1" dirty="0" smtClean="0">
                <a:solidFill>
                  <a:schemeClr val="tx1"/>
                </a:solidFill>
                <a:cs typeface="Arial"/>
              </a:rPr>
              <a:t>Připravenost ke změně</a:t>
            </a:r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458" name="Rectangle 19457"/>
          <p:cNvSpPr/>
          <p:nvPr>
            <p:custDataLst>
              <p:tags r:id="rId11"/>
            </p:custDataLst>
          </p:nvPr>
        </p:nvSpPr>
        <p:spPr bwMode="auto">
          <a:xfrm>
            <a:off x="4543425" y="5605463"/>
            <a:ext cx="2119313" cy="192088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cs-CZ" sz="1400" b="1" dirty="0" smtClean="0">
                <a:solidFill>
                  <a:schemeClr val="tx1"/>
                </a:solidFill>
                <a:cs typeface="Arial"/>
              </a:rPr>
              <a:t>Představivost a tvořivost</a:t>
            </a:r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457" name="Rectangle 19456"/>
          <p:cNvSpPr/>
          <p:nvPr>
            <p:custDataLst>
              <p:tags r:id="rId12"/>
            </p:custDataLst>
          </p:nvPr>
        </p:nvSpPr>
        <p:spPr bwMode="auto">
          <a:xfrm>
            <a:off x="2749550" y="5605463"/>
            <a:ext cx="1420813" cy="38417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cs-CZ" sz="1400" b="1" dirty="0" smtClean="0">
                <a:solidFill>
                  <a:schemeClr val="tx1"/>
                </a:solidFill>
                <a:cs typeface="Arial"/>
              </a:rPr>
              <a:t>Otevřenost novým nápadům</a:t>
            </a:r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456" name="Rectangle 19455"/>
          <p:cNvSpPr/>
          <p:nvPr>
            <p:custDataLst>
              <p:tags r:id="rId13"/>
            </p:custDataLst>
          </p:nvPr>
        </p:nvSpPr>
        <p:spPr bwMode="auto">
          <a:xfrm>
            <a:off x="444500" y="5605463"/>
            <a:ext cx="1744663" cy="192088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cs-CZ" sz="1400" b="1" dirty="0" smtClean="0">
                <a:solidFill>
                  <a:schemeClr val="tx1"/>
                </a:solidFill>
                <a:cs typeface="Arial"/>
              </a:rPr>
              <a:t>Nadšení pro inovace</a:t>
            </a:r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464" name="Rectangle 19463"/>
          <p:cNvSpPr/>
          <p:nvPr>
            <p:custDataLst>
              <p:tags r:id="rId14"/>
            </p:custDataLst>
          </p:nvPr>
        </p:nvSpPr>
        <p:spPr bwMode="auto">
          <a:xfrm>
            <a:off x="241300" y="6269038"/>
            <a:ext cx="179387" cy="133350"/>
          </a:xfrm>
          <a:prstGeom prst="rect">
            <a:avLst/>
          </a:prstGeom>
          <a:solidFill>
            <a:srgbClr val="778242"/>
          </a:solidFill>
          <a:ln w="9525" cap="flat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463" name="Rectangle 19462"/>
          <p:cNvSpPr/>
          <p:nvPr>
            <p:custDataLst>
              <p:tags r:id="rId15"/>
            </p:custDataLst>
          </p:nvPr>
        </p:nvSpPr>
        <p:spPr bwMode="auto">
          <a:xfrm>
            <a:off x="241300" y="6081713"/>
            <a:ext cx="179387" cy="133350"/>
          </a:xfrm>
          <a:prstGeom prst="rect">
            <a:avLst/>
          </a:prstGeom>
          <a:solidFill>
            <a:srgbClr val="9B1717"/>
          </a:solidFill>
          <a:ln w="9525" cap="flat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460" name="Rectangle 19459"/>
          <p:cNvSpPr/>
          <p:nvPr>
            <p:custDataLst>
              <p:tags r:id="rId16"/>
            </p:custDataLst>
          </p:nvPr>
        </p:nvSpPr>
        <p:spPr bwMode="auto">
          <a:xfrm>
            <a:off x="471488" y="6265863"/>
            <a:ext cx="1466850" cy="13652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6D73EC5-2CB4-4A4D-A6D4-1F2BA38C02F6}" type="datetime'P''''''růměr ''''úč''''''''a''''''stníků'' ''so''ut''''ě''že'">
              <a:rPr lang="en-US" sz="1000">
                <a:solidFill>
                  <a:schemeClr val="tx1"/>
                </a:solidFill>
                <a:cs typeface="Arial"/>
              </a:rPr>
              <a:pPr/>
              <a:t>Průměr účastníků soutěže</a:t>
            </a:fld>
            <a:endParaRPr lang="cs-CZ" sz="10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459" name="Rectangle 19458"/>
          <p:cNvSpPr/>
          <p:nvPr>
            <p:custDataLst>
              <p:tags r:id="rId17"/>
            </p:custDataLst>
          </p:nvPr>
        </p:nvSpPr>
        <p:spPr bwMode="auto">
          <a:xfrm>
            <a:off x="471488" y="6078538"/>
            <a:ext cx="1338263" cy="13652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BBC4B5F-0810-4569-8D84-C5BBF8FD3D61}" type="datetime'''Vít''ě''''zov''é'''''' ''''Be''s''t'''' Innovat''''''''or'''">
              <a:rPr lang="cs-CZ" sz="1000" smtClean="0">
                <a:solidFill>
                  <a:schemeClr val="tx1"/>
                </a:solidFill>
                <a:cs typeface="Arial"/>
              </a:rPr>
              <a:pPr/>
              <a:t>Vítězové Best Innovator</a:t>
            </a:fld>
            <a:endParaRPr lang="cs-CZ" sz="10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8" name="Picture 5" descr="Best Innovator klein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458522" y="1444625"/>
            <a:ext cx="36195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>
            <p:custDataLst>
              <p:tags r:id="rId19"/>
            </p:custDataLst>
          </p:nvPr>
        </p:nvSpPr>
        <p:spPr>
          <a:xfrm>
            <a:off x="7200292" y="2240868"/>
            <a:ext cx="1584176" cy="1938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cs-CZ" sz="1400" dirty="0" smtClean="0">
                <a:latin typeface="Arial "/>
              </a:rPr>
              <a:t>Maximální skóre</a:t>
            </a:r>
          </a:p>
        </p:txBody>
      </p:sp>
      <p:sp>
        <p:nvSpPr>
          <p:cNvPr id="23" name="TextBox 22"/>
          <p:cNvSpPr txBox="1"/>
          <p:nvPr>
            <p:custDataLst>
              <p:tags r:id="rId20"/>
            </p:custDataLst>
          </p:nvPr>
        </p:nvSpPr>
        <p:spPr>
          <a:xfrm>
            <a:off x="7621358" y="139700"/>
            <a:ext cx="1271182" cy="1661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200" dirty="0" smtClean="0">
                <a:latin typeface="Arial"/>
              </a:rPr>
              <a:t>Faktor úspěchu </a:t>
            </a:r>
            <a:r>
              <a:rPr lang="en-US" sz="1200" dirty="0" smtClean="0">
                <a:latin typeface="Arial"/>
              </a:rPr>
              <a:t>#</a:t>
            </a:r>
            <a:r>
              <a:rPr lang="cs-CZ" sz="1200" dirty="0" smtClean="0">
                <a:latin typeface="Arial"/>
              </a:rPr>
              <a:t>6</a:t>
            </a:r>
            <a:endParaRPr lang="cs-CZ" sz="1200" dirty="0" smtClean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9262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997218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16" name="think-cell Slide" r:id="rId36" imgW="360" imgH="360" progId="TCLayout.ActiveDocument.1">
                  <p:embed/>
                </p:oleObj>
              </mc:Choice>
              <mc:Fallback>
                <p:oleObj name="think-cell Slide" r:id="rId3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rgbClr val="7D0900"/>
              </a:buClr>
              <a:defRPr/>
            </a:pPr>
            <a:endParaRPr lang="en-US" sz="10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1508" name="Picture 38" descr="83b7f52922">
            <a:hlinkClick r:id="rId38"/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1657350" y="2289175"/>
            <a:ext cx="790575" cy="598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09" name="Text Box 1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4475" y="1628140"/>
            <a:ext cx="6842760" cy="47089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cs-CZ" b="1" dirty="0" smtClean="0">
                <a:latin typeface="Arial"/>
              </a:rPr>
              <a:t>Transformační cesta CEWE Color</a:t>
            </a:r>
          </a:p>
          <a:p>
            <a:pPr>
              <a:lnSpc>
                <a:spcPct val="90000"/>
              </a:lnSpc>
            </a:pPr>
            <a:r>
              <a:rPr lang="cs-CZ" sz="1600" dirty="0" smtClean="0">
                <a:latin typeface="Arial"/>
              </a:rPr>
              <a:t>(Schéma příjmů)</a:t>
            </a:r>
            <a:endParaRPr lang="cs-CZ" sz="1600" dirty="0">
              <a:latin typeface="Arial"/>
            </a:endParaRPr>
          </a:p>
        </p:txBody>
      </p:sp>
      <p:sp>
        <p:nvSpPr>
          <p:cNvPr id="21510" name="TextBox 3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01625" y="4583113"/>
            <a:ext cx="533400" cy="193675"/>
          </a:xfrm>
          <a:prstGeom prst="rect">
            <a:avLst/>
          </a:prstGeom>
          <a:solidFill>
            <a:schemeClr val="bg1"/>
          </a:solidFill>
          <a:ln w="12700" cap="rnd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</a:pPr>
            <a:r>
              <a:rPr lang="cs-CZ" sz="1400" b="1" dirty="0" smtClean="0">
                <a:solidFill>
                  <a:srgbClr val="000000"/>
                </a:solidFill>
                <a:latin typeface="Arial "/>
              </a:rPr>
              <a:t>1990</a:t>
            </a:r>
            <a:endParaRPr lang="cs-CZ" sz="1400" b="1" dirty="0">
              <a:solidFill>
                <a:srgbClr val="000000"/>
              </a:solidFill>
              <a:latin typeface="Arial "/>
            </a:endParaRPr>
          </a:p>
        </p:txBody>
      </p:sp>
      <p:sp>
        <p:nvSpPr>
          <p:cNvPr id="21511" name="AutoShape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7433866" y="4183063"/>
            <a:ext cx="124618" cy="1447800"/>
          </a:xfrm>
          <a:prstGeom prst="homePlate">
            <a:avLst>
              <a:gd name="adj" fmla="val 100000"/>
            </a:avLst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1512" name="Text Box 24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296025" y="5493172"/>
            <a:ext cx="196850" cy="2746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Font typeface="Arial" pitchFamily="34" charset="0"/>
              <a:buChar char="•"/>
            </a:pPr>
            <a:r>
              <a:rPr lang="cs-CZ" sz="1200" b="1" dirty="0" smtClean="0">
                <a:solidFill>
                  <a:srgbClr val="FFFFFF"/>
                </a:solidFill>
              </a:rPr>
              <a:t>3</a:t>
            </a:r>
            <a:endParaRPr lang="cs-CZ" sz="1200" b="1" dirty="0">
              <a:solidFill>
                <a:srgbClr val="FFFFFF"/>
              </a:solidFill>
            </a:endParaRPr>
          </a:p>
        </p:txBody>
      </p:sp>
      <p:sp>
        <p:nvSpPr>
          <p:cNvPr id="21513" name="Title 3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244800" y="804672"/>
            <a:ext cx="8719688" cy="664797"/>
          </a:xfrm>
        </p:spPr>
        <p:txBody>
          <a:bodyPr/>
          <a:lstStyle/>
          <a:p>
            <a:pPr marL="358775"/>
            <a:r>
              <a:rPr lang="cs-CZ" dirty="0" smtClean="0"/>
              <a:t>Lídři v inovacích aktivně utvářejí svět, dříve nežli svět přinutí měnit </a:t>
            </a:r>
            <a:r>
              <a:rPr lang="cs-CZ" dirty="0" smtClean="0"/>
              <a:t>je - </a:t>
            </a:r>
            <a:r>
              <a:rPr lang="cs-CZ" dirty="0" smtClean="0"/>
              <a:t>i za cenu náročných transformačních programů</a:t>
            </a:r>
          </a:p>
        </p:txBody>
      </p:sp>
      <p:graphicFrame>
        <p:nvGraphicFramePr>
          <p:cNvPr id="21514" name="Object 101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87853756"/>
              </p:ext>
            </p:extLst>
          </p:nvPr>
        </p:nvGraphicFramePr>
        <p:xfrm>
          <a:off x="142875" y="2336800"/>
          <a:ext cx="7982085" cy="23051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17" name="Chart" r:id="rId40" imgW="7982085" imgH="2305140" progId="MSGraph.Chart.8">
                  <p:embed followColorScheme="full"/>
                </p:oleObj>
              </mc:Choice>
              <mc:Fallback>
                <p:oleObj name="Chart" r:id="rId40" imgW="7982085" imgH="230514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2875" y="2336800"/>
                        <a:ext cx="7982085" cy="23051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8" name="Rectangle 157"/>
          <p:cNvSpPr/>
          <p:nvPr>
            <p:custDataLst>
              <p:tags r:id="rId11"/>
            </p:custDataLst>
          </p:nvPr>
        </p:nvSpPr>
        <p:spPr bwMode="auto">
          <a:xfrm>
            <a:off x="958850" y="4838700"/>
            <a:ext cx="179388" cy="133350"/>
          </a:xfrm>
          <a:prstGeom prst="rect">
            <a:avLst/>
          </a:prstGeom>
          <a:solidFill>
            <a:srgbClr val="778242"/>
          </a:solidFill>
          <a:ln w="9525" cap="rnd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Rectangle 158"/>
          <p:cNvSpPr/>
          <p:nvPr>
            <p:custDataLst>
              <p:tags r:id="rId12"/>
            </p:custDataLst>
          </p:nvPr>
        </p:nvSpPr>
        <p:spPr bwMode="auto">
          <a:xfrm>
            <a:off x="1643063" y="4838700"/>
            <a:ext cx="179387" cy="133350"/>
          </a:xfrm>
          <a:prstGeom prst="rect">
            <a:avLst/>
          </a:prstGeom>
          <a:solidFill>
            <a:srgbClr val="9B1717"/>
          </a:solidFill>
          <a:ln w="9525" cap="rnd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7" name="Rectangle 156"/>
          <p:cNvSpPr/>
          <p:nvPr>
            <p:custDataLst>
              <p:tags r:id="rId13"/>
            </p:custDataLst>
          </p:nvPr>
        </p:nvSpPr>
        <p:spPr bwMode="auto">
          <a:xfrm>
            <a:off x="234950" y="4838700"/>
            <a:ext cx="179388" cy="133350"/>
          </a:xfrm>
          <a:prstGeom prst="rect">
            <a:avLst/>
          </a:prstGeom>
          <a:solidFill>
            <a:srgbClr val="858274"/>
          </a:solidFill>
          <a:ln w="9525" cap="rnd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2" name="Rectangle 161"/>
          <p:cNvSpPr/>
          <p:nvPr>
            <p:custDataLst>
              <p:tags r:id="rId14"/>
            </p:custDataLst>
          </p:nvPr>
        </p:nvSpPr>
        <p:spPr bwMode="auto">
          <a:xfrm>
            <a:off x="465138" y="4835525"/>
            <a:ext cx="392112" cy="136525"/>
          </a:xfrm>
          <a:prstGeom prst="rect">
            <a:avLst/>
          </a:prstGeom>
          <a:noFill/>
          <a:ln w="9525" cap="rnd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Autofit/>
          </a:bodyPr>
          <a:lstStyle/>
          <a:p>
            <a:pPr>
              <a:lnSpc>
                <a:spcPct val="90000"/>
              </a:lnSpc>
              <a:buClr>
                <a:srgbClr val="7D0900"/>
              </a:buClr>
              <a:defRPr/>
            </a:pPr>
            <a:r>
              <a:rPr lang="cs-CZ" sz="1000" dirty="0" smtClean="0">
                <a:solidFill>
                  <a:srgbClr val="000000"/>
                </a:solidFill>
                <a:cs typeface="Arial"/>
                <a:sym typeface="Arial"/>
              </a:rPr>
              <a:t>Analog</a:t>
            </a:r>
            <a:endParaRPr lang="cs-CZ" sz="100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60" name="Rectangle 159"/>
          <p:cNvSpPr/>
          <p:nvPr>
            <p:custDataLst>
              <p:tags r:id="rId15"/>
            </p:custDataLst>
          </p:nvPr>
        </p:nvSpPr>
        <p:spPr bwMode="auto">
          <a:xfrm>
            <a:off x="1873250" y="4835525"/>
            <a:ext cx="323850" cy="136525"/>
          </a:xfrm>
          <a:prstGeom prst="rect">
            <a:avLst/>
          </a:prstGeom>
          <a:noFill/>
          <a:ln w="9525" cap="rnd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Autofit/>
          </a:bodyPr>
          <a:lstStyle/>
          <a:p>
            <a:pPr>
              <a:lnSpc>
                <a:spcPct val="90000"/>
              </a:lnSpc>
              <a:buClr>
                <a:srgbClr val="7D0900"/>
              </a:buClr>
              <a:defRPr/>
            </a:pPr>
            <a:r>
              <a:rPr lang="cs-CZ" sz="1000" dirty="0" smtClean="0">
                <a:solidFill>
                  <a:srgbClr val="000000"/>
                </a:solidFill>
                <a:cs typeface="Arial"/>
                <a:sym typeface="Arial"/>
              </a:rPr>
              <a:t>Retail</a:t>
            </a:r>
            <a:endParaRPr lang="cs-CZ" sz="100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61" name="Rectangle 160"/>
          <p:cNvSpPr/>
          <p:nvPr>
            <p:custDataLst>
              <p:tags r:id="rId16"/>
            </p:custDataLst>
          </p:nvPr>
        </p:nvSpPr>
        <p:spPr bwMode="auto">
          <a:xfrm>
            <a:off x="1189038" y="4835525"/>
            <a:ext cx="352425" cy="136525"/>
          </a:xfrm>
          <a:prstGeom prst="rect">
            <a:avLst/>
          </a:prstGeom>
          <a:noFill/>
          <a:ln w="9525" cap="rnd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Autofit/>
          </a:bodyPr>
          <a:lstStyle/>
          <a:p>
            <a:pPr>
              <a:lnSpc>
                <a:spcPct val="90000"/>
              </a:lnSpc>
              <a:buClr>
                <a:srgbClr val="7D0900"/>
              </a:buClr>
              <a:defRPr/>
            </a:pPr>
            <a:r>
              <a:rPr lang="cs-CZ" sz="1000" dirty="0" smtClean="0">
                <a:solidFill>
                  <a:srgbClr val="000000"/>
                </a:solidFill>
                <a:cs typeface="Arial"/>
                <a:sym typeface="Arial"/>
              </a:rPr>
              <a:t>Digital</a:t>
            </a:r>
            <a:endParaRPr lang="cs-CZ" sz="100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1521" name="TextBox 3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922713" y="4579938"/>
            <a:ext cx="533400" cy="193675"/>
          </a:xfrm>
          <a:prstGeom prst="rect">
            <a:avLst/>
          </a:prstGeom>
          <a:solidFill>
            <a:schemeClr val="bg1"/>
          </a:solidFill>
          <a:ln w="12700" cap="rnd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</a:pPr>
            <a:r>
              <a:rPr lang="cs-CZ" sz="1400" b="1" dirty="0" smtClean="0">
                <a:solidFill>
                  <a:srgbClr val="000000"/>
                </a:solidFill>
                <a:latin typeface="Arial "/>
              </a:rPr>
              <a:t>2000</a:t>
            </a:r>
            <a:endParaRPr lang="cs-CZ" sz="1400" b="1" dirty="0">
              <a:solidFill>
                <a:srgbClr val="000000"/>
              </a:solidFill>
              <a:latin typeface="Arial "/>
            </a:endParaRPr>
          </a:p>
        </p:txBody>
      </p:sp>
      <p:sp>
        <p:nvSpPr>
          <p:cNvPr id="21522" name="TextBox 3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913563" y="4579938"/>
            <a:ext cx="533400" cy="193675"/>
          </a:xfrm>
          <a:prstGeom prst="rect">
            <a:avLst/>
          </a:prstGeom>
          <a:solidFill>
            <a:schemeClr val="bg1"/>
          </a:solidFill>
          <a:ln w="12700" cap="rnd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</a:pPr>
            <a:r>
              <a:rPr lang="cs-CZ" sz="1400" b="1" dirty="0" smtClean="0">
                <a:solidFill>
                  <a:srgbClr val="000000"/>
                </a:solidFill>
                <a:latin typeface="Arial "/>
              </a:rPr>
              <a:t>2010</a:t>
            </a:r>
            <a:endParaRPr lang="cs-CZ" sz="1400" b="1" dirty="0">
              <a:solidFill>
                <a:srgbClr val="000000"/>
              </a:solidFill>
              <a:latin typeface="Arial "/>
            </a:endParaRPr>
          </a:p>
        </p:txBody>
      </p:sp>
      <p:sp>
        <p:nvSpPr>
          <p:cNvPr id="21523" name="TextBox 3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604125" y="4579938"/>
            <a:ext cx="531813" cy="193675"/>
          </a:xfrm>
          <a:prstGeom prst="rect">
            <a:avLst/>
          </a:prstGeom>
          <a:solidFill>
            <a:schemeClr val="bg1"/>
          </a:solidFill>
          <a:ln w="12700" cap="rnd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</a:pPr>
            <a:r>
              <a:rPr lang="cs-CZ" sz="1400" b="1" dirty="0" smtClean="0">
                <a:solidFill>
                  <a:srgbClr val="000000"/>
                </a:solidFill>
                <a:latin typeface="Arial "/>
              </a:rPr>
              <a:t>2012</a:t>
            </a:r>
            <a:endParaRPr lang="cs-CZ" sz="1400" b="1" dirty="0">
              <a:solidFill>
                <a:srgbClr val="000000"/>
              </a:solidFill>
              <a:latin typeface="Arial "/>
            </a:endParaRPr>
          </a:p>
        </p:txBody>
      </p:sp>
      <p:sp>
        <p:nvSpPr>
          <p:cNvPr id="194" name="TextBox 193"/>
          <p:cNvSpPr txBox="1"/>
          <p:nvPr>
            <p:custDataLst>
              <p:tags r:id="rId20"/>
            </p:custDataLst>
          </p:nvPr>
        </p:nvSpPr>
        <p:spPr>
          <a:xfrm>
            <a:off x="248021" y="5104234"/>
            <a:ext cx="3963617" cy="1230497"/>
          </a:xfrm>
          <a:prstGeom prst="rect">
            <a:avLst/>
          </a:prstGeom>
          <a:solidFill>
            <a:schemeClr val="accent2"/>
          </a:solidFill>
          <a:ln w="6350" cap="rnd">
            <a:noFill/>
          </a:ln>
          <a:extLst>
            <a:ext uri="{91240B29-F687-4F45-9708-019B960494DF}">
              <a14:hiddenLine xmlns:a14="http://schemas.microsoft.com/office/drawing/2010/main" w="6350" cap="rnd">
                <a:solidFill>
                  <a:srgbClr val="ADABA1"/>
                </a:solidFill>
              </a14:hiddenLine>
            </a:ext>
          </a:extLst>
        </p:spPr>
        <p:txBody>
          <a:bodyPr lIns="45720" rIns="45720"/>
          <a:lstStyle/>
          <a:p>
            <a:pPr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defRPr/>
            </a:pPr>
            <a:r>
              <a:rPr lang="cs-CZ" sz="1200" b="1" dirty="0" smtClean="0">
                <a:latin typeface="Arial "/>
              </a:rPr>
              <a:t>Zatímco konkurence zažívá následovné:</a:t>
            </a:r>
          </a:p>
          <a:p>
            <a:pPr marL="114300" indent="-1143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FontTx/>
              <a:buChar char="•"/>
              <a:tabLst>
                <a:tab pos="1609725" algn="l"/>
              </a:tabLst>
              <a:defRPr/>
            </a:pPr>
            <a:r>
              <a:rPr lang="cs-CZ" sz="1200" dirty="0" smtClean="0">
                <a:latin typeface="Arial"/>
              </a:rPr>
              <a:t>Agfa Photo: 	bankrot</a:t>
            </a:r>
          </a:p>
          <a:p>
            <a:pPr marL="114300" indent="-1143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FontTx/>
              <a:buChar char="•"/>
              <a:tabLst>
                <a:tab pos="1609725" algn="l"/>
              </a:tabLst>
              <a:defRPr/>
            </a:pPr>
            <a:r>
              <a:rPr lang="cs-CZ" sz="1200" dirty="0" smtClean="0">
                <a:latin typeface="Arial"/>
              </a:rPr>
              <a:t>V-Dia: 	</a:t>
            </a:r>
            <a:r>
              <a:rPr lang="cs-CZ" sz="1200" dirty="0" smtClean="0"/>
              <a:t>bankrot</a:t>
            </a:r>
            <a:endParaRPr lang="cs-CZ" sz="1200" dirty="0" smtClean="0">
              <a:latin typeface="Arial"/>
            </a:endParaRPr>
          </a:p>
          <a:p>
            <a:pPr marL="114300" indent="-1143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FontTx/>
              <a:buChar char="•"/>
              <a:tabLst>
                <a:tab pos="1609725" algn="l"/>
              </a:tabLst>
              <a:defRPr/>
            </a:pPr>
            <a:r>
              <a:rPr lang="cs-CZ" sz="1200" dirty="0" smtClean="0">
                <a:latin typeface="Arial"/>
              </a:rPr>
              <a:t>Kodak:	Úprava fotografií zrušena</a:t>
            </a:r>
          </a:p>
          <a:p>
            <a:pPr marL="114300" indent="-11430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FontTx/>
              <a:buChar char="•"/>
              <a:tabLst>
                <a:tab pos="1609725" algn="l"/>
              </a:tabLst>
              <a:defRPr/>
            </a:pPr>
            <a:r>
              <a:rPr lang="cs-CZ" sz="1200" dirty="0" smtClean="0">
                <a:latin typeface="Arial"/>
              </a:rPr>
              <a:t>Konica Minolta: 	</a:t>
            </a:r>
            <a:r>
              <a:rPr lang="cs-CZ" sz="1200" dirty="0" smtClean="0"/>
              <a:t>Segment fotografií zrušen</a:t>
            </a:r>
          </a:p>
          <a:p>
            <a:pPr marL="114300" indent="-1143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FontTx/>
              <a:buChar char="•"/>
              <a:tabLst>
                <a:tab pos="1609725" algn="l"/>
              </a:tabLst>
              <a:defRPr/>
            </a:pPr>
            <a:r>
              <a:rPr lang="cs-CZ" sz="1200" dirty="0" smtClean="0">
                <a:latin typeface="Arial"/>
              </a:rPr>
              <a:t>Fuji Film:	Ztráta v roce 2009</a:t>
            </a:r>
            <a:endParaRPr lang="cs-CZ" sz="1200" dirty="0">
              <a:latin typeface="Arial"/>
            </a:endParaRPr>
          </a:p>
        </p:txBody>
      </p:sp>
      <p:sp>
        <p:nvSpPr>
          <p:cNvPr id="195" name="TextBox 194"/>
          <p:cNvSpPr txBox="1"/>
          <p:nvPr>
            <p:custDataLst>
              <p:tags r:id="rId21"/>
            </p:custDataLst>
          </p:nvPr>
        </p:nvSpPr>
        <p:spPr>
          <a:xfrm>
            <a:off x="5824711" y="5104234"/>
            <a:ext cx="3062755" cy="1230497"/>
          </a:xfrm>
          <a:prstGeom prst="rect">
            <a:avLst/>
          </a:prstGeom>
          <a:solidFill>
            <a:schemeClr val="bg2"/>
          </a:solidFill>
          <a:ln w="6350" cap="rnd">
            <a:noFill/>
          </a:ln>
          <a:extLst>
            <a:ext uri="{91240B29-F687-4F45-9708-019B960494DF}">
              <a14:hiddenLine xmlns:a14="http://schemas.microsoft.com/office/drawing/2010/main" w="6350" cap="rnd">
                <a:solidFill>
                  <a:srgbClr val="ADABA1"/>
                </a:solidFill>
              </a14:hiddenLine>
            </a:ext>
          </a:extLst>
        </p:spPr>
        <p:txBody>
          <a:bodyPr lIns="45720" rIns="45720"/>
          <a:lstStyle/>
          <a:p>
            <a:pPr>
              <a:lnSpc>
                <a:spcPct val="90000"/>
              </a:lnSpc>
              <a:spcBef>
                <a:spcPts val="500"/>
              </a:spcBef>
              <a:buClr>
                <a:schemeClr val="bg1"/>
              </a:buClr>
              <a:buSzPct val="100000"/>
              <a:defRPr/>
            </a:pPr>
            <a:r>
              <a:rPr lang="cs-CZ" sz="1200" b="1" dirty="0" smtClean="0">
                <a:solidFill>
                  <a:schemeClr val="bg1"/>
                </a:solidFill>
                <a:latin typeface="Arial "/>
              </a:rPr>
              <a:t>Restart růstu:</a:t>
            </a:r>
          </a:p>
          <a:p>
            <a:pPr marL="171450" indent="-171450">
              <a:lnSpc>
                <a:spcPct val="90000"/>
              </a:lnSpc>
              <a:spcBef>
                <a:spcPts val="500"/>
              </a:spcBef>
              <a:buClr>
                <a:schemeClr val="bg1"/>
              </a:buClr>
              <a:buSzPct val="100000"/>
              <a:buFont typeface="Arial" pitchFamily="34" charset="0"/>
              <a:buChar char="•"/>
              <a:defRPr/>
            </a:pPr>
            <a:r>
              <a:rPr lang="cs-CZ" sz="1200" dirty="0" smtClean="0">
                <a:solidFill>
                  <a:schemeClr val="bg1"/>
                </a:solidFill>
                <a:latin typeface="Arial"/>
              </a:rPr>
              <a:t>CEWE PHOTO Book je možné objednat jak po internetu, tak přes existující retail síť</a:t>
            </a:r>
          </a:p>
          <a:p>
            <a:pPr marL="171450" indent="-171450">
              <a:lnSpc>
                <a:spcPct val="90000"/>
              </a:lnSpc>
              <a:spcBef>
                <a:spcPts val="500"/>
              </a:spcBef>
              <a:buClr>
                <a:schemeClr val="bg1"/>
              </a:buClr>
              <a:buSzPct val="100000"/>
              <a:buFont typeface="Arial" pitchFamily="34" charset="0"/>
              <a:buChar char="•"/>
              <a:defRPr/>
            </a:pPr>
            <a:r>
              <a:rPr lang="cs-CZ" sz="1200" dirty="0" smtClean="0">
                <a:solidFill>
                  <a:schemeClr val="bg1"/>
                </a:solidFill>
                <a:latin typeface="Arial"/>
              </a:rPr>
              <a:t>Další tržní aplikace (osobní kalendáře, pohledy, atd.)</a:t>
            </a:r>
            <a:endParaRPr lang="cs-CZ" sz="12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21526" name="Line 8"/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 flipV="1">
            <a:off x="285750" y="2690813"/>
            <a:ext cx="3636963" cy="1122253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 wrap="none"/>
          <a:lstStyle/>
          <a:p>
            <a:endParaRPr lang="en-US" dirty="0"/>
          </a:p>
        </p:txBody>
      </p:sp>
      <p:sp>
        <p:nvSpPr>
          <p:cNvPr id="21527" name="Line 9"/>
          <p:cNvSpPr>
            <a:spLocks noChangeShapeType="1"/>
          </p:cNvSpPr>
          <p:nvPr>
            <p:custDataLst>
              <p:tags r:id="rId23"/>
            </p:custDataLst>
          </p:nvPr>
        </p:nvSpPr>
        <p:spPr bwMode="auto">
          <a:xfrm flipV="1">
            <a:off x="3783921" y="2400300"/>
            <a:ext cx="3889375" cy="1938338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 wrap="none"/>
          <a:lstStyle/>
          <a:p>
            <a:endParaRPr lang="en-US" dirty="0"/>
          </a:p>
        </p:txBody>
      </p:sp>
      <p:sp>
        <p:nvSpPr>
          <p:cNvPr id="21528" name="Text Box 4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20031355">
            <a:off x="3537195" y="3179763"/>
            <a:ext cx="4162496" cy="19166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cs-CZ" sz="1200" b="1" dirty="0" smtClean="0"/>
              <a:t>Růst v digitálním segmentu</a:t>
            </a:r>
            <a:endParaRPr lang="cs-CZ" sz="1200" b="1" dirty="0"/>
          </a:p>
        </p:txBody>
      </p:sp>
      <p:sp>
        <p:nvSpPr>
          <p:cNvPr id="21529" name="Text Box 11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 rot="20568835">
            <a:off x="315411" y="3030538"/>
            <a:ext cx="35089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cs-CZ" sz="1200" b="1" dirty="0" smtClean="0"/>
              <a:t>Regionální </a:t>
            </a:r>
            <a:r>
              <a:rPr lang="cs-CZ" sz="1200" b="1" dirty="0" smtClean="0"/>
              <a:t>expanze </a:t>
            </a:r>
            <a:r>
              <a:rPr lang="cs-CZ" sz="1200" b="1" dirty="0" smtClean="0"/>
              <a:t>na analogovém trhu</a:t>
            </a:r>
            <a:endParaRPr lang="cs-CZ" sz="1200" b="1" dirty="0"/>
          </a:p>
        </p:txBody>
      </p:sp>
      <p:sp>
        <p:nvSpPr>
          <p:cNvPr id="21530" name="Line 10"/>
          <p:cNvSpPr>
            <a:spLocks noChangeShapeType="1"/>
          </p:cNvSpPr>
          <p:nvPr>
            <p:custDataLst>
              <p:tags r:id="rId26"/>
            </p:custDataLst>
          </p:nvPr>
        </p:nvSpPr>
        <p:spPr bwMode="auto">
          <a:xfrm>
            <a:off x="4081463" y="2620963"/>
            <a:ext cx="2193925" cy="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 wrap="none"/>
          <a:lstStyle/>
          <a:p>
            <a:endParaRPr lang="en-US" dirty="0"/>
          </a:p>
        </p:txBody>
      </p:sp>
      <p:sp>
        <p:nvSpPr>
          <p:cNvPr id="21531" name="Text Box 12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4129933" y="2241550"/>
            <a:ext cx="2004799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cs-CZ" sz="1200" b="1" dirty="0" smtClean="0"/>
              <a:t>Transformace analog/digitál</a:t>
            </a:r>
            <a:endParaRPr lang="cs-CZ" sz="1200" b="1" dirty="0"/>
          </a:p>
        </p:txBody>
      </p:sp>
      <p:pic>
        <p:nvPicPr>
          <p:cNvPr id="21532" name="Picture 25" descr="IMG_3152 Kopie"/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42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rcRect l="2621" t="5521" r="9268" b="10561"/>
          <a:stretch>
            <a:fillRect/>
          </a:stretch>
        </p:blipFill>
        <p:spPr bwMode="auto">
          <a:xfrm>
            <a:off x="6660232" y="3276600"/>
            <a:ext cx="2152608" cy="10990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pic>
        <p:nvPicPr>
          <p:cNvPr id="21533" name="Picture 19" descr="3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43" cstate="print"/>
          <a:srcRect/>
          <a:stretch>
            <a:fillRect/>
          </a:stretch>
        </p:blipFill>
        <p:spPr bwMode="auto">
          <a:xfrm>
            <a:off x="285750" y="2292350"/>
            <a:ext cx="1408113" cy="1073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Oval 32"/>
          <p:cNvSpPr/>
          <p:nvPr>
            <p:custDataLst>
              <p:tags r:id="rId30"/>
            </p:custDataLst>
          </p:nvPr>
        </p:nvSpPr>
        <p:spPr>
          <a:xfrm>
            <a:off x="246380" y="804672"/>
            <a:ext cx="279400" cy="279400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cs-CZ" sz="1600" b="1" dirty="0">
                <a:solidFill>
                  <a:schemeClr val="bg1"/>
                </a:solidFill>
                <a:latin typeface="Arial"/>
                <a:cs typeface="Arial" pitchFamily="34" charset="0"/>
              </a:rPr>
              <a:t>6</a:t>
            </a:r>
            <a:endParaRPr lang="cs-CZ" sz="1600" b="1" dirty="0" smtClean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pic>
        <p:nvPicPr>
          <p:cNvPr id="34" name="Picture 5" descr="Best Innovator klein"/>
          <p:cNvPicPr>
            <a:picLocks noChangeAspect="1" noChangeArrowheads="1"/>
          </p:cNvPicPr>
          <p:nvPr>
            <p:custDataLst>
              <p:tags r:id="rId31"/>
            </p:custDataLst>
          </p:nvPr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164288" y="1444625"/>
            <a:ext cx="36195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TextBox 34"/>
          <p:cNvSpPr txBox="1"/>
          <p:nvPr>
            <p:custDataLst>
              <p:tags r:id="rId32"/>
            </p:custDataLst>
          </p:nvPr>
        </p:nvSpPr>
        <p:spPr>
          <a:xfrm>
            <a:off x="7528146" y="1628140"/>
            <a:ext cx="1362682" cy="302968"/>
          </a:xfrm>
          <a:prstGeom prst="rect">
            <a:avLst/>
          </a:prstGeom>
          <a:solidFill>
            <a:schemeClr val="accent2"/>
          </a:solidFill>
          <a:ln w="6350" cap="flat">
            <a:noFill/>
            <a:miter lim="800000"/>
          </a:ln>
        </p:spPr>
        <p:txBody>
          <a:bodyPr vert="horz" wrap="none" lIns="108014" tIns="54007" rIns="108014" bIns="54007" rtlCol="0" anchor="t" anchorCtr="0">
            <a:sp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cs-CZ" sz="1400" dirty="0" smtClean="0">
                <a:solidFill>
                  <a:schemeClr val="accent4"/>
                </a:solidFill>
                <a:latin typeface="Arial"/>
                <a:cs typeface="Arial"/>
              </a:rPr>
              <a:t>Nejlepší praxe</a:t>
            </a:r>
          </a:p>
        </p:txBody>
      </p:sp>
      <p:sp>
        <p:nvSpPr>
          <p:cNvPr id="37" name="Rectangle 20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245110" y="6368288"/>
            <a:ext cx="6400800" cy="3683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marL="137160" indent="-137160" eaLnBrk="0" hangingPunct="0">
              <a:lnSpc>
                <a:spcPct val="90000"/>
              </a:lnSpc>
            </a:pPr>
            <a:endParaRPr lang="cs-CZ" sz="800" dirty="0" smtClean="0">
              <a:latin typeface="Arial"/>
            </a:endParaRPr>
          </a:p>
          <a:p>
            <a:pPr marL="137160" indent="-137160" eaLnBrk="0" hangingPunct="0">
              <a:lnSpc>
                <a:spcPct val="90000"/>
              </a:lnSpc>
            </a:pPr>
            <a:endParaRPr lang="cs-CZ" sz="800" dirty="0" smtClean="0">
              <a:latin typeface="Arial"/>
            </a:endParaRPr>
          </a:p>
          <a:p>
            <a:pPr marL="137160" indent="-137160" eaLnBrk="0" hangingPunct="0">
              <a:lnSpc>
                <a:spcPct val="90000"/>
              </a:lnSpc>
            </a:pPr>
            <a:r>
              <a:rPr lang="cs-CZ" sz="800" dirty="0" smtClean="0">
                <a:latin typeface="Arial"/>
              </a:rPr>
              <a:t>Zdroj: Best Innovator soutěž</a:t>
            </a:r>
            <a:endParaRPr lang="cs-CZ" sz="800" dirty="0">
              <a:latin typeface="Arial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621358" y="139700"/>
            <a:ext cx="1271182" cy="1661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200" dirty="0" smtClean="0">
                <a:latin typeface="Arial"/>
              </a:rPr>
              <a:t>Faktor úspěchu </a:t>
            </a:r>
            <a:r>
              <a:rPr lang="en-US" sz="1200" dirty="0" smtClean="0">
                <a:latin typeface="Arial"/>
              </a:rPr>
              <a:t>#</a:t>
            </a:r>
            <a:r>
              <a:rPr lang="cs-CZ" sz="1200" dirty="0" smtClean="0">
                <a:latin typeface="Arial"/>
              </a:rPr>
              <a:t>6</a:t>
            </a:r>
            <a:endParaRPr lang="cs-CZ" sz="1200" dirty="0" smtClean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592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ChangeArrowheads="1"/>
          </p:cNvSpPr>
          <p:nvPr/>
        </p:nvSpPr>
        <p:spPr bwMode="gray">
          <a:xfrm>
            <a:off x="244475" y="4969701"/>
            <a:ext cx="3967163" cy="691324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  <a:miter lim="800000"/>
            <a:headEnd/>
            <a:tailEnd/>
          </a:ln>
        </p:spPr>
        <p:txBody>
          <a:bodyPr lIns="144000" tIns="144000" rIns="144000" bIns="144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90000"/>
              </a:spcBef>
              <a:spcAft>
                <a:spcPts val="0"/>
              </a:spcAft>
              <a:buClr>
                <a:srgbClr val="7D0900"/>
              </a:buClr>
              <a:buFont typeface="Wingdings" pitchFamily="2" charset="2"/>
              <a:buNone/>
            </a:pPr>
            <a:r>
              <a:rPr lang="cs-CZ" b="1" dirty="0" smtClean="0">
                <a:solidFill>
                  <a:srgbClr val="FFFFFF"/>
                </a:solidFill>
                <a:latin typeface="Arial"/>
              </a:rPr>
              <a:t>Řízení inovací NENÍ umění, ...</a:t>
            </a:r>
            <a:endParaRPr lang="cs-CZ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7827" name="Rectangle 3"/>
          <p:cNvSpPr>
            <a:spLocks noChangeArrowheads="1"/>
          </p:cNvSpPr>
          <p:nvPr/>
        </p:nvSpPr>
        <p:spPr bwMode="gray">
          <a:xfrm>
            <a:off x="4932363" y="4969701"/>
            <a:ext cx="3960813" cy="691324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bg2"/>
            </a:solidFill>
            <a:miter lim="800000"/>
            <a:headEnd/>
            <a:tailEnd/>
          </a:ln>
        </p:spPr>
        <p:txBody>
          <a:bodyPr lIns="144000" tIns="144000" rIns="144000" bIns="144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90000"/>
              </a:spcBef>
              <a:spcAft>
                <a:spcPts val="0"/>
              </a:spcAft>
              <a:buClr>
                <a:srgbClr val="7D0900"/>
              </a:buClr>
              <a:buFont typeface="Wingdings" pitchFamily="2" charset="2"/>
              <a:buNone/>
            </a:pPr>
            <a:r>
              <a:rPr lang="cs-CZ" b="1" dirty="0" smtClean="0">
                <a:solidFill>
                  <a:srgbClr val="FFFFFF"/>
                </a:solidFill>
                <a:latin typeface="Arial"/>
              </a:rPr>
              <a:t>... ale je to schopnost!</a:t>
            </a:r>
            <a:endParaRPr lang="cs-CZ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7829" name="Rectangle 5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pPr eaLnBrk="1" hangingPunct="1"/>
            <a:r>
              <a:rPr lang="cs-CZ" dirty="0" smtClean="0"/>
              <a:t>Na závěr ...</a:t>
            </a:r>
          </a:p>
        </p:txBody>
      </p:sp>
      <p:sp>
        <p:nvSpPr>
          <p:cNvPr id="77830" name="Rectangle 6"/>
          <p:cNvSpPr>
            <a:spLocks noChangeArrowheads="1"/>
          </p:cNvSpPr>
          <p:nvPr/>
        </p:nvSpPr>
        <p:spPr bwMode="gray">
          <a:xfrm>
            <a:off x="245110" y="6368288"/>
            <a:ext cx="6400800" cy="3683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marL="137160" indent="-137160" eaLnBrk="0" hangingPunct="0">
              <a:lnSpc>
                <a:spcPct val="90000"/>
              </a:lnSpc>
            </a:pPr>
            <a:endParaRPr lang="cs-CZ" sz="800" dirty="0" smtClean="0">
              <a:latin typeface="Arial"/>
            </a:endParaRPr>
          </a:p>
          <a:p>
            <a:pPr marL="137160" indent="-137160" eaLnBrk="0" hangingPunct="0">
              <a:lnSpc>
                <a:spcPct val="90000"/>
              </a:lnSpc>
            </a:pPr>
            <a:endParaRPr lang="cs-CZ" sz="800" dirty="0" smtClean="0">
              <a:latin typeface="Arial"/>
            </a:endParaRPr>
          </a:p>
          <a:p>
            <a:pPr marL="137160" indent="-137160" eaLnBrk="0" hangingPunct="0">
              <a:lnSpc>
                <a:spcPct val="90000"/>
              </a:lnSpc>
            </a:pPr>
            <a:r>
              <a:rPr lang="cs-CZ" sz="800" dirty="0" smtClean="0">
                <a:latin typeface="Arial"/>
              </a:rPr>
              <a:t>Zdroj: A.T. Kearney</a:t>
            </a:r>
            <a:endParaRPr lang="cs-CZ" sz="800" dirty="0">
              <a:latin typeface="Arial"/>
            </a:endParaRPr>
          </a:p>
        </p:txBody>
      </p:sp>
      <p:sp>
        <p:nvSpPr>
          <p:cNvPr id="2" name="Isosceles Triangle 1"/>
          <p:cNvSpPr/>
          <p:nvPr/>
        </p:nvSpPr>
        <p:spPr>
          <a:xfrm rot="5400000">
            <a:off x="3408680" y="3851910"/>
            <a:ext cx="2305050" cy="152400"/>
          </a:xfrm>
          <a:prstGeom prst="triangl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de-DE" sz="16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15716" name="Picture 4" descr="ATK Thinkstock Librar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698" y="2057400"/>
            <a:ext cx="3970338" cy="2727326"/>
          </a:xfrm>
          <a:prstGeom prst="rect">
            <a:avLst/>
          </a:prstGeom>
          <a:noFill/>
          <a:ln>
            <a:noFill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717" name="Picture 5" descr="ATK Thinkstock Library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9632" y="2057400"/>
            <a:ext cx="3962400" cy="2727326"/>
          </a:xfrm>
          <a:prstGeom prst="rect">
            <a:avLst/>
          </a:prstGeom>
          <a:noFill/>
          <a:ln>
            <a:noFill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8918359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418467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66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794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4800" y="804672"/>
            <a:ext cx="8640000" cy="664797"/>
          </a:xfrm>
        </p:spPr>
        <p:txBody>
          <a:bodyPr/>
          <a:lstStyle/>
          <a:p>
            <a:r>
              <a:rPr lang="cs-CZ" dirty="0" smtClean="0"/>
              <a:t>Nejlepší inovátoři </a:t>
            </a:r>
            <a:r>
              <a:rPr lang="cs-CZ" dirty="0" smtClean="0"/>
              <a:t>vykazují dlouhodobě lepší </a:t>
            </a:r>
            <a:r>
              <a:rPr lang="cs-CZ" dirty="0" smtClean="0"/>
              <a:t>výsledky než </a:t>
            </a: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s nimi srovnatelné společnosti</a:t>
            </a:r>
            <a:endParaRPr lang="cs-CZ" dirty="0" smtClean="0"/>
          </a:p>
        </p:txBody>
      </p:sp>
      <p:sp>
        <p:nvSpPr>
          <p:cNvPr id="24580" name="TextBox 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5110" y="6368288"/>
            <a:ext cx="6400800" cy="368300"/>
          </a:xfrm>
          <a:prstGeom prst="rect">
            <a:avLst/>
          </a:prstGeom>
          <a:noFill/>
          <a:ln w="63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</a14:hiddenLine>
            </a:ext>
          </a:extLst>
        </p:spPr>
        <p:txBody>
          <a:bodyPr wrap="square" lIns="0" tIns="0" rIns="0" bIns="0" anchor="b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37160" indent="-137160" eaLnBrk="1" hangingPunct="1">
              <a:lnSpc>
                <a:spcPct val="90000"/>
              </a:lnSpc>
              <a:buFontTx/>
              <a:buAutoNum type="arabicPeriod"/>
              <a:defRPr/>
            </a:pPr>
            <a:endParaRPr lang="cs-CZ" sz="800" dirty="0" smtClean="0">
              <a:latin typeface="Arial"/>
            </a:endParaRPr>
          </a:p>
          <a:p>
            <a:pPr marL="137160" indent="-137160" eaLnBrk="1" hangingPunct="1">
              <a:lnSpc>
                <a:spcPct val="90000"/>
              </a:lnSpc>
              <a:buFontTx/>
              <a:buAutoNum type="arabicPeriod"/>
              <a:defRPr/>
            </a:pPr>
            <a:r>
              <a:rPr lang="cs-CZ" sz="800" dirty="0" smtClean="0">
                <a:latin typeface="Arial"/>
              </a:rPr>
              <a:t>Průměrná výkonost vítězů soutěže Best Innovator v regionu DACH (Německo, Rakousko, Švýcarsko)</a:t>
            </a:r>
          </a:p>
          <a:p>
            <a:pPr marL="137160" indent="-137160" eaLnBrk="1" hangingPunct="1">
              <a:lnSpc>
                <a:spcPct val="90000"/>
              </a:lnSpc>
              <a:defRPr/>
            </a:pPr>
            <a:r>
              <a:rPr lang="cs-CZ" sz="800" dirty="0" smtClean="0">
                <a:latin typeface="Arial"/>
              </a:rPr>
              <a:t>Zdroj: Best Innovator soutěž 2003 – 2011, A.T. Kearney analýza</a:t>
            </a:r>
          </a:p>
        </p:txBody>
      </p:sp>
      <p:sp>
        <p:nvSpPr>
          <p:cNvPr id="7" name="Oval 6"/>
          <p:cNvSpPr/>
          <p:nvPr>
            <p:custDataLst>
              <p:tags r:id="rId5"/>
            </p:custDataLst>
          </p:nvPr>
        </p:nvSpPr>
        <p:spPr>
          <a:xfrm>
            <a:off x="1209138" y="2564904"/>
            <a:ext cx="2203450" cy="774700"/>
          </a:xfrm>
          <a:prstGeom prst="ellipse">
            <a:avLst/>
          </a:prstGeom>
          <a:solidFill>
            <a:schemeClr val="bg2"/>
          </a:solidFill>
          <a:ln w="12700" cap="rnd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buClr>
                <a:srgbClr val="7D0900"/>
              </a:buClr>
              <a:defRPr/>
            </a:pPr>
            <a:r>
              <a:rPr lang="cs-CZ" sz="1400" b="1" dirty="0" smtClean="0">
                <a:solidFill>
                  <a:srgbClr val="FFFFFF"/>
                </a:solidFill>
                <a:cs typeface="Arial" pitchFamily="34" charset="0"/>
              </a:rPr>
              <a:t>Růst korporátní hodnoty:</a:t>
            </a:r>
          </a:p>
          <a:p>
            <a:pPr algn="ctr">
              <a:lnSpc>
                <a:spcPct val="90000"/>
              </a:lnSpc>
              <a:buClr>
                <a:srgbClr val="7D0900"/>
              </a:buClr>
              <a:defRPr/>
            </a:pPr>
            <a:r>
              <a:rPr lang="cs-CZ" sz="1400" b="1" dirty="0" smtClean="0">
                <a:solidFill>
                  <a:srgbClr val="FFFFFF"/>
                </a:solidFill>
                <a:cs typeface="Arial" pitchFamily="34" charset="0"/>
              </a:rPr>
              <a:t>Rozdíl &gt; ~25% </a:t>
            </a:r>
            <a:endParaRPr lang="cs-CZ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TextBox 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44474" y="1628140"/>
            <a:ext cx="8107946" cy="470898"/>
          </a:xfrm>
          <a:prstGeom prst="rect">
            <a:avLst/>
          </a:prstGeom>
          <a:noFill/>
          <a:ln w="63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cs-CZ" b="1" dirty="0" smtClean="0">
                <a:latin typeface="Arial"/>
              </a:rPr>
              <a:t>Vývoj ceny akcií na burze DAX index vs. DACH Best Innovator vítězové</a:t>
            </a:r>
            <a:r>
              <a:rPr lang="cs-CZ" b="1" baseline="30000" dirty="0" smtClean="0">
                <a:latin typeface="Arial"/>
              </a:rPr>
              <a:t>1</a:t>
            </a:r>
            <a:r>
              <a:rPr lang="cs-CZ" b="1" dirty="0" smtClean="0">
                <a:latin typeface="Arial"/>
              </a:rPr>
              <a:t/>
            </a:r>
            <a:br>
              <a:rPr lang="cs-CZ" b="1" dirty="0" smtClean="0">
                <a:latin typeface="Arial"/>
              </a:rPr>
            </a:br>
            <a:r>
              <a:rPr lang="cs-CZ" sz="1600" dirty="0" smtClean="0">
                <a:latin typeface="Arial"/>
              </a:rPr>
              <a:t>(1.1.2003 –12.10.2012, indexováno)</a:t>
            </a:r>
            <a:endParaRPr lang="cs-CZ" sz="1600" baseline="30000" dirty="0">
              <a:latin typeface="Arial"/>
            </a:endParaRP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0476244"/>
              </p:ext>
            </p:extLst>
          </p:nvPr>
        </p:nvGraphicFramePr>
        <p:xfrm>
          <a:off x="228342" y="2384884"/>
          <a:ext cx="8724900" cy="39834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6926682" y="139700"/>
            <a:ext cx="1965858" cy="1661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200" dirty="0" smtClean="0">
                <a:latin typeface="Arial"/>
              </a:rPr>
              <a:t>A.T. Kearney a řízení inovací</a:t>
            </a:r>
          </a:p>
        </p:txBody>
      </p:sp>
    </p:spTree>
    <p:extLst>
      <p:ext uri="{BB962C8B-B14F-4D97-AF65-F5344CB8AC3E}">
        <p14:creationId xmlns:p14="http://schemas.microsoft.com/office/powerpoint/2010/main" val="2621460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800" y="804672"/>
            <a:ext cx="8719688" cy="664797"/>
          </a:xfrm>
        </p:spPr>
        <p:txBody>
          <a:bodyPr/>
          <a:lstStyle/>
          <a:p>
            <a:r>
              <a:rPr lang="cs-CZ" dirty="0" smtClean="0"/>
              <a:t>Lídři v inovacích se nesoustředí pouze na inovaci produktů, ale také na inovaci </a:t>
            </a:r>
            <a:r>
              <a:rPr lang="cs-CZ" dirty="0" smtClean="0"/>
              <a:t>svých procesů</a:t>
            </a:r>
            <a:r>
              <a:rPr lang="cs-CZ" dirty="0" smtClean="0"/>
              <a:t>, služeb a obchodního modelu</a:t>
            </a:r>
          </a:p>
        </p:txBody>
      </p:sp>
      <p:sp>
        <p:nvSpPr>
          <p:cNvPr id="45059" name="Rectangle 3"/>
          <p:cNvSpPr>
            <a:spLocks noChangeArrowheads="1"/>
          </p:cNvSpPr>
          <p:nvPr/>
        </p:nvSpPr>
        <p:spPr bwMode="gray">
          <a:xfrm>
            <a:off x="4932363" y="2403009"/>
            <a:ext cx="3951287" cy="394222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6350">
            <a:noFill/>
            <a:miter lim="800000"/>
            <a:headEnd/>
            <a:tailEnd/>
          </a:ln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algn="ctr" eaLnBrk="0" hangingPunct="0">
              <a:lnSpc>
                <a:spcPct val="90000"/>
              </a:lnSpc>
              <a:spcBef>
                <a:spcPts val="900"/>
              </a:spcBef>
              <a:defRPr/>
            </a:pPr>
            <a:r>
              <a:rPr lang="cs-CZ" sz="1600" b="1" dirty="0" smtClean="0">
                <a:solidFill>
                  <a:srgbClr val="000000"/>
                </a:solidFill>
                <a:latin typeface="Arial"/>
              </a:rPr>
              <a:t>Schopnost řídit nápady v oblasti</a:t>
            </a:r>
          </a:p>
          <a:p>
            <a:pPr algn="ctr" eaLnBrk="0" hangingPunct="0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  <a:defRPr/>
            </a:pPr>
            <a:r>
              <a:rPr lang="cs-CZ" sz="1600" dirty="0" smtClean="0">
                <a:solidFill>
                  <a:srgbClr val="000000"/>
                </a:solidFill>
                <a:latin typeface="Arial"/>
              </a:rPr>
              <a:t>nových produktů, procesů, nebo služeb</a:t>
            </a:r>
          </a:p>
          <a:p>
            <a:pPr algn="ctr" eaLnBrk="0" hangingPunct="0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  <a:defRPr/>
            </a:pPr>
            <a:r>
              <a:rPr lang="cs-CZ" sz="1600" b="1" i="1" dirty="0" smtClean="0">
                <a:solidFill>
                  <a:srgbClr val="000000"/>
                </a:solidFill>
                <a:latin typeface="Arial"/>
              </a:rPr>
              <a:t>nebo</a:t>
            </a:r>
          </a:p>
          <a:p>
            <a:pPr algn="ctr" eaLnBrk="0" hangingPunct="0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  <a:defRPr/>
            </a:pPr>
            <a:r>
              <a:rPr lang="cs-CZ" sz="1600" dirty="0" smtClean="0">
                <a:solidFill>
                  <a:srgbClr val="000000"/>
                </a:solidFill>
                <a:latin typeface="Arial"/>
              </a:rPr>
              <a:t>zásadní vylepšení obchodního modelu</a:t>
            </a:r>
            <a:endParaRPr lang="cs-CZ" sz="1600" b="1" dirty="0" smtClean="0">
              <a:solidFill>
                <a:srgbClr val="000000"/>
              </a:solidFill>
              <a:latin typeface="Arial"/>
            </a:endParaRPr>
          </a:p>
          <a:p>
            <a:pPr marL="107950" indent="-107950" algn="ctr" eaLnBrk="0" hangingPunct="0">
              <a:lnSpc>
                <a:spcPct val="90000"/>
              </a:lnSpc>
              <a:spcBef>
                <a:spcPts val="900"/>
              </a:spcBef>
              <a:defRPr/>
            </a:pPr>
            <a:r>
              <a:rPr lang="cs-CZ" sz="1600" b="1" dirty="0" smtClean="0">
                <a:solidFill>
                  <a:srgbClr val="000000"/>
                </a:solidFill>
                <a:latin typeface="Arial"/>
              </a:rPr>
              <a:t>až do jejich úspěšné realizace</a:t>
            </a:r>
            <a:endParaRPr lang="cs-CZ" sz="16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508" name="Rectangle 4"/>
          <p:cNvSpPr>
            <a:spLocks noChangeArrowheads="1"/>
          </p:cNvSpPr>
          <p:nvPr/>
        </p:nvSpPr>
        <p:spPr bwMode="gray">
          <a:xfrm>
            <a:off x="4932363" y="2057400"/>
            <a:ext cx="3951287" cy="355600"/>
          </a:xfrm>
          <a:prstGeom prst="rect">
            <a:avLst/>
          </a:prstGeom>
          <a:solidFill>
            <a:schemeClr val="tx2"/>
          </a:solidFill>
          <a:ln w="6350">
            <a:noFill/>
            <a:miter lim="800000"/>
            <a:headEnd/>
            <a:tailEnd/>
          </a:ln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cs-CZ" sz="1600" b="1" dirty="0" smtClean="0">
                <a:solidFill>
                  <a:schemeClr val="bg1"/>
                </a:solidFill>
                <a:latin typeface="Arial"/>
              </a:rPr>
              <a:t>Definice řízení inovací</a:t>
            </a:r>
            <a:endParaRPr lang="cs-CZ" sz="16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414179" name="AutoShape 35"/>
          <p:cNvSpPr>
            <a:spLocks noChangeArrowheads="1"/>
          </p:cNvSpPr>
          <p:nvPr/>
        </p:nvSpPr>
        <p:spPr bwMode="gray">
          <a:xfrm>
            <a:off x="1052699" y="5337212"/>
            <a:ext cx="3206750" cy="992188"/>
          </a:xfrm>
          <a:prstGeom prst="bevel">
            <a:avLst>
              <a:gd name="adj" fmla="val 0"/>
            </a:avLst>
          </a:prstGeom>
          <a:solidFill>
            <a:schemeClr val="accent2">
              <a:lumMod val="9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  <a:defRPr/>
            </a:pPr>
            <a:endParaRPr lang="en-US" sz="1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14180" name="Text Box 36"/>
          <p:cNvSpPr txBox="1">
            <a:spLocks noChangeArrowheads="1"/>
          </p:cNvSpPr>
          <p:nvPr/>
        </p:nvSpPr>
        <p:spPr bwMode="gray">
          <a:xfrm>
            <a:off x="2249050" y="5337212"/>
            <a:ext cx="2142930" cy="58569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chemeClr val="bg2">
                <a:gamma/>
                <a:shade val="60000"/>
                <a:invGamma/>
              </a:schemeClr>
            </a:prstShdw>
          </a:effectLst>
        </p:spPr>
        <p:txBody>
          <a:bodyPr wrap="square" lIns="70560" tIns="70560" rIns="70560" bIns="70560">
            <a:spAutoFit/>
          </a:bodyPr>
          <a:lstStyle/>
          <a:p>
            <a:pPr defTabSz="895350" eaLnBrk="0" hangingPunct="0">
              <a:lnSpc>
                <a:spcPct val="90000"/>
              </a:lnSpc>
              <a:spcBef>
                <a:spcPct val="50000"/>
              </a:spcBef>
              <a:defRPr/>
            </a:pPr>
            <a:r>
              <a:rPr lang="cs-CZ" sz="1600" b="1" dirty="0" smtClean="0">
                <a:latin typeface="Arial"/>
              </a:rPr>
              <a:t>Inovace </a:t>
            </a:r>
            <a:br>
              <a:rPr lang="cs-CZ" sz="1600" b="1" dirty="0" smtClean="0">
                <a:latin typeface="Arial"/>
              </a:rPr>
            </a:br>
            <a:r>
              <a:rPr lang="cs-CZ" sz="1600" b="1" dirty="0" smtClean="0">
                <a:latin typeface="Arial"/>
              </a:rPr>
              <a:t>obchodního modelu</a:t>
            </a:r>
            <a:endParaRPr lang="cs-CZ" sz="1600" b="1" dirty="0">
              <a:latin typeface="Arial"/>
            </a:endParaRPr>
          </a:p>
        </p:txBody>
      </p:sp>
      <p:sp>
        <p:nvSpPr>
          <p:cNvPr id="1414181" name="Text Box 37"/>
          <p:cNvSpPr txBox="1">
            <a:spLocks noChangeArrowheads="1"/>
          </p:cNvSpPr>
          <p:nvPr/>
        </p:nvSpPr>
        <p:spPr bwMode="gray">
          <a:xfrm>
            <a:off x="2231740" y="5788594"/>
            <a:ext cx="1826601" cy="5302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chemeClr val="bg2">
                <a:gamma/>
                <a:shade val="60000"/>
                <a:invGamma/>
              </a:schemeClr>
            </a:prstShdw>
          </a:effectLst>
        </p:spPr>
        <p:txBody>
          <a:bodyPr wrap="square" lIns="70560" tIns="70560" rIns="70560" bIns="70560">
            <a:spAutoFit/>
          </a:bodyPr>
          <a:lstStyle/>
          <a:p>
            <a:pPr defTabSz="895350" eaLnBrk="0" hangingPunct="0">
              <a:lnSpc>
                <a:spcPct val="90000"/>
              </a:lnSpc>
              <a:spcBef>
                <a:spcPct val="50000"/>
              </a:spcBef>
              <a:defRPr/>
            </a:pPr>
            <a:r>
              <a:rPr lang="cs-CZ" sz="1400" dirty="0" smtClean="0">
                <a:latin typeface="Arial"/>
              </a:rPr>
              <a:t>Např. </a:t>
            </a:r>
            <a:r>
              <a:rPr lang="cs-CZ" sz="1400" dirty="0" smtClean="0">
                <a:latin typeface="Arial"/>
              </a:rPr>
              <a:t>reverzní </a:t>
            </a:r>
            <a:r>
              <a:rPr lang="cs-CZ" sz="1400" dirty="0" smtClean="0">
                <a:latin typeface="Arial"/>
              </a:rPr>
              <a:t>aukce eBay</a:t>
            </a:r>
            <a:endParaRPr lang="cs-CZ" sz="1400" dirty="0">
              <a:latin typeface="Arial"/>
            </a:endParaRPr>
          </a:p>
        </p:txBody>
      </p:sp>
      <p:pic>
        <p:nvPicPr>
          <p:cNvPr id="21524" name="Picture 38" descr="logoEbay_x4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187624" y="5699169"/>
            <a:ext cx="837517" cy="268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14164" name="AutoShape 20"/>
          <p:cNvSpPr>
            <a:spLocks noChangeArrowheads="1"/>
          </p:cNvSpPr>
          <p:nvPr/>
        </p:nvSpPr>
        <p:spPr bwMode="gray">
          <a:xfrm>
            <a:off x="251520" y="2060848"/>
            <a:ext cx="3206750" cy="997662"/>
          </a:xfrm>
          <a:prstGeom prst="bevel">
            <a:avLst>
              <a:gd name="adj" fmla="val 0"/>
            </a:avLst>
          </a:prstGeom>
          <a:solidFill>
            <a:schemeClr val="accent2">
              <a:lumMod val="9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  <a:defRPr/>
            </a:pPr>
            <a:endParaRPr lang="en-US" sz="1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14165" name="Text Box 21"/>
          <p:cNvSpPr txBox="1">
            <a:spLocks noChangeArrowheads="1"/>
          </p:cNvSpPr>
          <p:nvPr/>
        </p:nvSpPr>
        <p:spPr bwMode="gray">
          <a:xfrm>
            <a:off x="1866902" y="2060848"/>
            <a:ext cx="1336946" cy="58569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chemeClr val="bg2">
                <a:gamma/>
                <a:shade val="60000"/>
                <a:invGamma/>
              </a:schemeClr>
            </a:prstShdw>
          </a:effectLst>
        </p:spPr>
        <p:txBody>
          <a:bodyPr wrap="square" lIns="70560" tIns="70560" rIns="70560" bIns="70560">
            <a:spAutoFit/>
          </a:bodyPr>
          <a:lstStyle/>
          <a:p>
            <a:pPr defTabSz="895350" eaLnBrk="0" hangingPunct="0">
              <a:lnSpc>
                <a:spcPct val="90000"/>
              </a:lnSpc>
              <a:spcBef>
                <a:spcPct val="50000"/>
              </a:spcBef>
              <a:defRPr/>
            </a:pPr>
            <a:r>
              <a:rPr lang="cs-CZ" sz="1600" b="1" dirty="0" smtClean="0">
                <a:latin typeface="Arial"/>
              </a:rPr>
              <a:t>Produktová inovace</a:t>
            </a:r>
            <a:endParaRPr lang="cs-CZ" sz="1600" b="1" dirty="0">
              <a:latin typeface="Arial"/>
            </a:endParaRPr>
          </a:p>
        </p:txBody>
      </p:sp>
      <p:sp>
        <p:nvSpPr>
          <p:cNvPr id="1414166" name="Text Box 22"/>
          <p:cNvSpPr txBox="1">
            <a:spLocks noChangeArrowheads="1"/>
          </p:cNvSpPr>
          <p:nvPr/>
        </p:nvSpPr>
        <p:spPr bwMode="gray">
          <a:xfrm>
            <a:off x="1868395" y="2538352"/>
            <a:ext cx="1201785" cy="5302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chemeClr val="bg2">
                <a:gamma/>
                <a:shade val="60000"/>
                <a:invGamma/>
              </a:schemeClr>
            </a:prstShdw>
          </a:effectLst>
        </p:spPr>
        <p:txBody>
          <a:bodyPr lIns="70560" tIns="70560" rIns="70560" bIns="70560">
            <a:spAutoFit/>
          </a:bodyPr>
          <a:lstStyle/>
          <a:p>
            <a:pPr defTabSz="895350" eaLnBrk="0" hangingPunct="0">
              <a:lnSpc>
                <a:spcPct val="90000"/>
              </a:lnSpc>
              <a:spcBef>
                <a:spcPct val="50000"/>
              </a:spcBef>
              <a:defRPr/>
            </a:pPr>
            <a:r>
              <a:rPr lang="cs-CZ" sz="1400" dirty="0" smtClean="0">
                <a:latin typeface="Arial"/>
              </a:rPr>
              <a:t>Např. Apple’s iPhone</a:t>
            </a:r>
            <a:endParaRPr lang="cs-CZ" sz="1400" dirty="0">
              <a:latin typeface="Arial"/>
            </a:endParaRPr>
          </a:p>
        </p:txBody>
      </p:sp>
      <p:pic>
        <p:nvPicPr>
          <p:cNvPr id="21513" name="Picture 24" descr="iPhone A guided tour.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gray">
          <a:xfrm>
            <a:off x="368995" y="2167567"/>
            <a:ext cx="1309688" cy="784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14" name="Text Box 19"/>
          <p:cNvSpPr txBox="1">
            <a:spLocks noChangeArrowheads="1"/>
          </p:cNvSpPr>
          <p:nvPr/>
        </p:nvSpPr>
        <p:spPr bwMode="gray">
          <a:xfrm>
            <a:off x="244475" y="1628140"/>
            <a:ext cx="6842760" cy="2492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cs-CZ" b="1" dirty="0" smtClean="0">
                <a:latin typeface="Arial"/>
              </a:rPr>
              <a:t>Druhy inovací</a:t>
            </a:r>
            <a:endParaRPr lang="cs-CZ" b="1" dirty="0">
              <a:latin typeface="Arial"/>
            </a:endParaRPr>
          </a:p>
        </p:txBody>
      </p:sp>
      <p:sp>
        <p:nvSpPr>
          <p:cNvPr id="21515" name="Rectangle 11"/>
          <p:cNvSpPr>
            <a:spLocks noChangeArrowheads="1"/>
          </p:cNvSpPr>
          <p:nvPr/>
        </p:nvSpPr>
        <p:spPr bwMode="gray">
          <a:xfrm>
            <a:off x="245110" y="6368288"/>
            <a:ext cx="6400800" cy="3683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marL="137160" indent="-137160" defTabSz="912813" eaLnBrk="0" hangingPunct="0">
              <a:lnSpc>
                <a:spcPct val="90000"/>
              </a:lnSpc>
            </a:pPr>
            <a:endParaRPr lang="cs-CZ" sz="800" dirty="0" smtClean="0">
              <a:latin typeface="Arial"/>
            </a:endParaRPr>
          </a:p>
          <a:p>
            <a:pPr marL="137160" indent="-137160" defTabSz="912813" eaLnBrk="0" hangingPunct="0">
              <a:lnSpc>
                <a:spcPct val="90000"/>
              </a:lnSpc>
            </a:pPr>
            <a:endParaRPr lang="cs-CZ" sz="800" dirty="0" smtClean="0">
              <a:latin typeface="Arial"/>
            </a:endParaRPr>
          </a:p>
          <a:p>
            <a:pPr marL="137160" indent="-137160" defTabSz="912813" eaLnBrk="0" hangingPunct="0">
              <a:lnSpc>
                <a:spcPct val="90000"/>
              </a:lnSpc>
            </a:pPr>
            <a:r>
              <a:rPr lang="cs-CZ" sz="800" dirty="0" smtClean="0">
                <a:latin typeface="Arial"/>
              </a:rPr>
              <a:t>Zdroj: A.T. Kearney</a:t>
            </a:r>
            <a:endParaRPr lang="cs-CZ" sz="800" dirty="0">
              <a:latin typeface="Arial"/>
            </a:endParaRPr>
          </a:p>
        </p:txBody>
      </p:sp>
      <p:sp>
        <p:nvSpPr>
          <p:cNvPr id="1414169" name="AutoShape 25"/>
          <p:cNvSpPr>
            <a:spLocks noChangeArrowheads="1"/>
          </p:cNvSpPr>
          <p:nvPr/>
        </p:nvSpPr>
        <p:spPr bwMode="gray">
          <a:xfrm>
            <a:off x="506049" y="3160940"/>
            <a:ext cx="3208337" cy="995363"/>
          </a:xfrm>
          <a:prstGeom prst="bevel">
            <a:avLst>
              <a:gd name="adj" fmla="val 0"/>
            </a:avLst>
          </a:prstGeom>
          <a:solidFill>
            <a:schemeClr val="accent2">
              <a:lumMod val="9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  <a:defRPr/>
            </a:pPr>
            <a:endParaRPr lang="en-US" sz="1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14170" name="Text Box 26"/>
          <p:cNvSpPr txBox="1">
            <a:spLocks noChangeArrowheads="1"/>
          </p:cNvSpPr>
          <p:nvPr/>
        </p:nvSpPr>
        <p:spPr bwMode="gray">
          <a:xfrm>
            <a:off x="1979712" y="3160940"/>
            <a:ext cx="1692095" cy="58569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chemeClr val="bg2">
                <a:gamma/>
                <a:shade val="60000"/>
                <a:invGamma/>
              </a:schemeClr>
            </a:prstShdw>
          </a:effectLst>
        </p:spPr>
        <p:txBody>
          <a:bodyPr wrap="square" lIns="70560" tIns="70560" rIns="70560" bIns="70560">
            <a:spAutoFit/>
          </a:bodyPr>
          <a:lstStyle/>
          <a:p>
            <a:pPr defTabSz="895350" eaLnBrk="0" hangingPunct="0">
              <a:lnSpc>
                <a:spcPct val="90000"/>
              </a:lnSpc>
              <a:spcBef>
                <a:spcPct val="50000"/>
              </a:spcBef>
              <a:defRPr/>
            </a:pPr>
            <a:r>
              <a:rPr lang="cs-CZ" sz="1600" b="1" dirty="0" smtClean="0">
                <a:latin typeface="Arial"/>
              </a:rPr>
              <a:t>Procesní inovace</a:t>
            </a:r>
            <a:endParaRPr lang="cs-CZ" sz="1600" b="1" dirty="0">
              <a:latin typeface="Arial"/>
            </a:endParaRPr>
          </a:p>
        </p:txBody>
      </p:sp>
      <p:sp>
        <p:nvSpPr>
          <p:cNvPr id="1414171" name="Text Box 27"/>
          <p:cNvSpPr txBox="1">
            <a:spLocks noChangeArrowheads="1"/>
          </p:cNvSpPr>
          <p:nvPr/>
        </p:nvSpPr>
        <p:spPr bwMode="gray">
          <a:xfrm>
            <a:off x="1979712" y="3615963"/>
            <a:ext cx="1778695" cy="5302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chemeClr val="bg2">
                <a:gamma/>
                <a:shade val="60000"/>
                <a:invGamma/>
              </a:schemeClr>
            </a:prstShdw>
          </a:effectLst>
        </p:spPr>
        <p:txBody>
          <a:bodyPr wrap="square" lIns="70560" tIns="70560" rIns="70560" bIns="70560">
            <a:spAutoFit/>
          </a:bodyPr>
          <a:lstStyle/>
          <a:p>
            <a:pPr defTabSz="895350" eaLnBrk="0" hangingPunct="0">
              <a:lnSpc>
                <a:spcPct val="90000"/>
              </a:lnSpc>
              <a:spcBef>
                <a:spcPct val="50000"/>
              </a:spcBef>
              <a:defRPr/>
            </a:pPr>
            <a:r>
              <a:rPr lang="cs-CZ" sz="1400" dirty="0" smtClean="0">
                <a:latin typeface="Arial"/>
              </a:rPr>
              <a:t>Např. RFID a čárové kódy v logistice</a:t>
            </a:r>
            <a:endParaRPr lang="cs-CZ" sz="1400" dirty="0">
              <a:latin typeface="Arial"/>
            </a:endParaRPr>
          </a:p>
        </p:txBody>
      </p:sp>
      <p:pic>
        <p:nvPicPr>
          <p:cNvPr id="21516" name="Picture 34" descr="http://www.tri-c.edu/career/workforce/Logistics/Pages/RFID.aspx">
            <a:hlinkClick r:id="rId10"/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25111" y="3276828"/>
            <a:ext cx="850900" cy="6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7" name="Picture 32" descr="http://barfblog.foodsafety.ksu.edu/tags/bar-code/">
            <a:hlinkClick r:id="rId12"/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151620" y="3503840"/>
            <a:ext cx="738187" cy="544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14174" name="AutoShape 30"/>
          <p:cNvSpPr>
            <a:spLocks noChangeArrowheads="1"/>
          </p:cNvSpPr>
          <p:nvPr/>
        </p:nvSpPr>
        <p:spPr bwMode="gray">
          <a:xfrm>
            <a:off x="762165" y="4248283"/>
            <a:ext cx="3206750" cy="996950"/>
          </a:xfrm>
          <a:prstGeom prst="bevel">
            <a:avLst>
              <a:gd name="adj" fmla="val 0"/>
            </a:avLst>
          </a:prstGeom>
          <a:solidFill>
            <a:schemeClr val="accent2">
              <a:lumMod val="90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  <a:defRPr/>
            </a:pPr>
            <a:endParaRPr lang="en-US" sz="1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14175" name="Text Box 31"/>
          <p:cNvSpPr txBox="1">
            <a:spLocks noChangeArrowheads="1"/>
          </p:cNvSpPr>
          <p:nvPr/>
        </p:nvSpPr>
        <p:spPr bwMode="gray">
          <a:xfrm>
            <a:off x="2123728" y="4248283"/>
            <a:ext cx="1791873" cy="3640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chemeClr val="bg2">
                <a:gamma/>
                <a:shade val="60000"/>
                <a:invGamma/>
              </a:schemeClr>
            </a:prstShdw>
          </a:effectLst>
        </p:spPr>
        <p:txBody>
          <a:bodyPr wrap="square" lIns="70560" tIns="70560" rIns="70560" bIns="70560">
            <a:spAutoFit/>
          </a:bodyPr>
          <a:lstStyle/>
          <a:p>
            <a:pPr defTabSz="895350" eaLnBrk="0" hangingPunct="0">
              <a:lnSpc>
                <a:spcPct val="90000"/>
              </a:lnSpc>
              <a:spcBef>
                <a:spcPct val="50000"/>
              </a:spcBef>
              <a:defRPr/>
            </a:pPr>
            <a:r>
              <a:rPr lang="cs-CZ" sz="1600" b="1" dirty="0" smtClean="0">
                <a:latin typeface="Arial"/>
              </a:rPr>
              <a:t>Inovace služeb</a:t>
            </a:r>
            <a:endParaRPr lang="cs-CZ" sz="1600" b="1" dirty="0">
              <a:latin typeface="Arial"/>
            </a:endParaRPr>
          </a:p>
        </p:txBody>
      </p:sp>
      <p:sp>
        <p:nvSpPr>
          <p:cNvPr id="1414176" name="Text Box 32"/>
          <p:cNvSpPr txBox="1">
            <a:spLocks noChangeArrowheads="1"/>
          </p:cNvSpPr>
          <p:nvPr/>
        </p:nvSpPr>
        <p:spPr bwMode="gray">
          <a:xfrm>
            <a:off x="2123728" y="4545124"/>
            <a:ext cx="1791873" cy="72419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prstShdw prst="shdw17" dist="17961" dir="2700000">
              <a:schemeClr val="bg2">
                <a:gamma/>
                <a:shade val="60000"/>
                <a:invGamma/>
              </a:schemeClr>
            </a:prstShdw>
          </a:effectLst>
        </p:spPr>
        <p:txBody>
          <a:bodyPr wrap="square" lIns="70560" tIns="70560" rIns="70560" bIns="70560">
            <a:spAutoFit/>
          </a:bodyPr>
          <a:lstStyle/>
          <a:p>
            <a:pPr defTabSz="895350" eaLnBrk="0" hangingPunct="0">
              <a:lnSpc>
                <a:spcPct val="90000"/>
              </a:lnSpc>
              <a:spcBef>
                <a:spcPct val="50000"/>
              </a:spcBef>
              <a:defRPr/>
            </a:pPr>
            <a:r>
              <a:rPr lang="cs-CZ" sz="1400" dirty="0" smtClean="0">
                <a:latin typeface="Arial"/>
              </a:rPr>
              <a:t>Např. </a:t>
            </a:r>
            <a:r>
              <a:rPr lang="cs-CZ" sz="1400" dirty="0" smtClean="0">
                <a:latin typeface="Arial"/>
              </a:rPr>
              <a:t>flexibilní </a:t>
            </a:r>
            <a:r>
              <a:rPr lang="cs-CZ" sz="1400" dirty="0" smtClean="0">
                <a:latin typeface="Arial"/>
              </a:rPr>
              <a:t>řízení zavazadel při cestování</a:t>
            </a:r>
            <a:endParaRPr lang="cs-CZ" sz="1400" dirty="0">
              <a:latin typeface="Arial"/>
            </a:endParaRPr>
          </a:p>
        </p:txBody>
      </p:sp>
      <p:pic>
        <p:nvPicPr>
          <p:cNvPr id="21518" name="Picture 48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/>
          <a:srcRect t="18269" r="74571" b="52025"/>
          <a:stretch>
            <a:fillRect/>
          </a:stretch>
        </p:blipFill>
        <p:spPr bwMode="auto">
          <a:xfrm>
            <a:off x="843128" y="4345121"/>
            <a:ext cx="909637" cy="7969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21519" name="Picture 49" descr="expedia.com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5" cstate="print"/>
          <a:srcRect r="25523"/>
          <a:stretch>
            <a:fillRect/>
          </a:stretch>
        </p:blipFill>
        <p:spPr bwMode="auto">
          <a:xfrm>
            <a:off x="1403648" y="4451483"/>
            <a:ext cx="639762" cy="17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Isosceles Triangle 5"/>
          <p:cNvSpPr/>
          <p:nvPr/>
        </p:nvSpPr>
        <p:spPr>
          <a:xfrm rot="5400000">
            <a:off x="3408680" y="4080103"/>
            <a:ext cx="2305050" cy="152400"/>
          </a:xfrm>
          <a:prstGeom prst="triangl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de-DE" sz="1600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926682" y="139700"/>
            <a:ext cx="1965858" cy="1661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200" dirty="0" smtClean="0">
                <a:latin typeface="Arial"/>
              </a:rPr>
              <a:t>A.T. Kearney a řízení inovací</a:t>
            </a:r>
          </a:p>
        </p:txBody>
      </p:sp>
    </p:spTree>
    <p:extLst>
      <p:ext uri="{BB962C8B-B14F-4D97-AF65-F5344CB8AC3E}">
        <p14:creationId xmlns:p14="http://schemas.microsoft.com/office/powerpoint/2010/main" val="33017132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87" name="think-cell Slide" r:id="rId64" imgW="0" imgH="0" progId="TCLayout.ActiveDocument.1">
                  <p:embed/>
                </p:oleObj>
              </mc:Choice>
              <mc:Fallback>
                <p:oleObj name="think-cell Slide" r:id="rId6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94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l" defTabSz="912813">
              <a:buClr>
                <a:srgbClr val="7D0900"/>
              </a:buClr>
              <a:defRPr/>
            </a:pPr>
            <a:r>
              <a:rPr lang="cs-CZ" sz="1200" dirty="0" smtClean="0">
                <a:solidFill>
                  <a:srgbClr val="000000"/>
                </a:solidFill>
                <a:latin typeface="Arial"/>
                <a:cs typeface="+mn-cs"/>
                <a:sym typeface="Arial" pitchFamily="34" charset="0"/>
              </a:rPr>
              <a:t> </a:t>
            </a:r>
            <a:endParaRPr lang="cs-CZ" sz="1200" dirty="0">
              <a:solidFill>
                <a:srgbClr val="000000"/>
              </a:solidFill>
              <a:latin typeface="Arial"/>
              <a:cs typeface="+mn-cs"/>
              <a:sym typeface="Arial" pitchFamily="34" charset="0"/>
            </a:endParaRPr>
          </a:p>
        </p:txBody>
      </p:sp>
      <p:sp>
        <p:nvSpPr>
          <p:cNvPr id="2131" name="Line 7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>
            <a:off x="5855969" y="4213225"/>
            <a:ext cx="0" cy="1331913"/>
          </a:xfrm>
          <a:prstGeom prst="line">
            <a:avLst/>
          </a:prstGeom>
          <a:noFill/>
          <a:ln w="3175">
            <a:solidFill>
              <a:schemeClr val="accent3"/>
            </a:solidFill>
            <a:prstDash val="dash"/>
            <a:round/>
            <a:headEnd/>
            <a:tailEnd/>
          </a:ln>
        </p:spPr>
        <p:txBody>
          <a:bodyPr wrap="none"/>
          <a:lstStyle/>
          <a:p>
            <a:pPr algn="l">
              <a:defRPr/>
            </a:pPr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132" name="Line 8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6938644" y="4213225"/>
            <a:ext cx="0" cy="1331913"/>
          </a:xfrm>
          <a:prstGeom prst="line">
            <a:avLst/>
          </a:prstGeom>
          <a:noFill/>
          <a:ln w="3175">
            <a:solidFill>
              <a:schemeClr val="accent3"/>
            </a:solidFill>
            <a:prstDash val="dash"/>
            <a:round/>
            <a:headEnd/>
            <a:tailEnd/>
          </a:ln>
        </p:spPr>
        <p:txBody>
          <a:bodyPr wrap="none"/>
          <a:lstStyle/>
          <a:p>
            <a:pPr algn="l">
              <a:defRPr/>
            </a:pPr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133" name="Freeform 9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4632007" y="4384675"/>
            <a:ext cx="1223962" cy="642938"/>
          </a:xfrm>
          <a:custGeom>
            <a:avLst/>
            <a:gdLst>
              <a:gd name="T0" fmla="*/ 0 w 840"/>
              <a:gd name="T1" fmla="*/ 0 h 444"/>
              <a:gd name="T2" fmla="*/ 2147483647 w 840"/>
              <a:gd name="T3" fmla="*/ 2147483647 h 444"/>
              <a:gd name="T4" fmla="*/ 2147483647 w 840"/>
              <a:gd name="T5" fmla="*/ 2147483647 h 444"/>
              <a:gd name="T6" fmla="*/ 0 60000 65536"/>
              <a:gd name="T7" fmla="*/ 0 60000 65536"/>
              <a:gd name="T8" fmla="*/ 0 60000 65536"/>
              <a:gd name="T9" fmla="*/ 0 w 840"/>
              <a:gd name="T10" fmla="*/ 0 h 444"/>
              <a:gd name="T11" fmla="*/ 840 w 840"/>
              <a:gd name="T12" fmla="*/ 444 h 4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40" h="444">
                <a:moveTo>
                  <a:pt x="0" y="0"/>
                </a:moveTo>
                <a:cubicBezTo>
                  <a:pt x="83" y="26"/>
                  <a:pt x="356" y="82"/>
                  <a:pt x="495" y="156"/>
                </a:cubicBezTo>
                <a:cubicBezTo>
                  <a:pt x="635" y="230"/>
                  <a:pt x="783" y="396"/>
                  <a:pt x="840" y="444"/>
                </a:cubicBezTo>
              </a:path>
            </a:pathLst>
          </a:custGeom>
          <a:noFill/>
          <a:ln w="28575">
            <a:solidFill>
              <a:schemeClr val="accent4"/>
            </a:solidFill>
            <a:round/>
            <a:headEnd/>
            <a:tailEnd/>
          </a:ln>
        </p:spPr>
        <p:txBody>
          <a:bodyPr/>
          <a:lstStyle/>
          <a:p>
            <a:pPr algn="l">
              <a:buClr>
                <a:srgbClr val="7D0900"/>
              </a:buClr>
              <a:defRPr/>
            </a:pPr>
            <a:endParaRPr lang="en-US" sz="1000" b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0247" name="Group 10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5889301" y="4502150"/>
            <a:ext cx="537382" cy="203200"/>
            <a:chOff x="3344" y="2893"/>
            <a:chExt cx="348" cy="155"/>
          </a:xfrm>
        </p:grpSpPr>
        <p:sp>
          <p:nvSpPr>
            <p:cNvPr id="2157" name="Rectangle 11"/>
            <p:cNvSpPr>
              <a:spLocks noChangeArrowheads="1"/>
            </p:cNvSpPr>
            <p:nvPr/>
          </p:nvSpPr>
          <p:spPr bwMode="gray">
            <a:xfrm>
              <a:off x="3344" y="2893"/>
              <a:ext cx="51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algn="l" defTabSz="912813">
                <a:buClr>
                  <a:srgbClr val="7D0900"/>
                </a:buClr>
                <a:defRPr/>
              </a:pPr>
              <a:r>
                <a:rPr lang="en-US" sz="1000" b="1" dirty="0" smtClean="0">
                  <a:solidFill>
                    <a:srgbClr val="000000"/>
                  </a:solidFill>
                  <a:latin typeface="Arial"/>
                  <a:cs typeface="+mn-cs"/>
                </a:rPr>
                <a:t>T</a:t>
              </a:r>
              <a:endParaRPr lang="en-US" sz="1000" b="1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58" name="Rectangle 12"/>
            <p:cNvSpPr>
              <a:spLocks noChangeArrowheads="1"/>
            </p:cNvSpPr>
            <p:nvPr/>
          </p:nvSpPr>
          <p:spPr bwMode="gray">
            <a:xfrm>
              <a:off x="3397" y="2941"/>
              <a:ext cx="295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algn="l" defTabSz="912813">
                <a:buClr>
                  <a:srgbClr val="7D0900"/>
                </a:buClr>
                <a:defRPr/>
              </a:pPr>
              <a:r>
                <a:rPr lang="cs-CZ" sz="1000" b="1" dirty="0" smtClean="0">
                  <a:solidFill>
                    <a:srgbClr val="000000"/>
                  </a:solidFill>
                  <a:latin typeface="Arial"/>
                  <a:cs typeface="+mn-cs"/>
                </a:rPr>
                <a:t>Spuštění</a:t>
              </a:r>
              <a:endParaRPr lang="en-US" sz="1000" b="1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135" name="Rectangle 1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199119" y="2849563"/>
            <a:ext cx="0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l" defTabSz="912813">
              <a:buClr>
                <a:srgbClr val="7D0900"/>
              </a:buClr>
              <a:defRPr/>
            </a:pPr>
            <a:endParaRPr lang="de-DE" sz="1000" b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136" name="Rectangle 1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46757" y="2849563"/>
            <a:ext cx="0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l" defTabSz="912813">
              <a:buClr>
                <a:srgbClr val="7D0900"/>
              </a:buClr>
              <a:defRPr/>
            </a:pPr>
            <a:endParaRPr lang="de-DE" sz="1000" b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0250" name="Group 15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4698682" y="4502150"/>
            <a:ext cx="152400" cy="203200"/>
            <a:chOff x="2595" y="2893"/>
            <a:chExt cx="99" cy="155"/>
          </a:xfrm>
        </p:grpSpPr>
        <p:sp>
          <p:nvSpPr>
            <p:cNvPr id="2155" name="Rectangle 16"/>
            <p:cNvSpPr>
              <a:spLocks noChangeArrowheads="1"/>
            </p:cNvSpPr>
            <p:nvPr/>
          </p:nvSpPr>
          <p:spPr bwMode="gray">
            <a:xfrm>
              <a:off x="2595" y="2893"/>
              <a:ext cx="51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algn="l" defTabSz="912813">
                <a:buClr>
                  <a:srgbClr val="7D0900"/>
                </a:buClr>
                <a:defRPr/>
              </a:pPr>
              <a:r>
                <a:rPr lang="en-US" sz="1000" b="1" dirty="0" smtClean="0">
                  <a:solidFill>
                    <a:srgbClr val="000000"/>
                  </a:solidFill>
                  <a:latin typeface="Arial"/>
                  <a:cs typeface="+mn-cs"/>
                </a:rPr>
                <a:t>T</a:t>
              </a:r>
              <a:endParaRPr lang="en-US" sz="1000" b="1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56" name="Rectangle 17"/>
            <p:cNvSpPr>
              <a:spLocks noChangeArrowheads="1"/>
            </p:cNvSpPr>
            <p:nvPr/>
          </p:nvSpPr>
          <p:spPr bwMode="gray">
            <a:xfrm>
              <a:off x="2648" y="2941"/>
              <a:ext cx="46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algn="l" defTabSz="912813">
                <a:buClr>
                  <a:srgbClr val="7D0900"/>
                </a:buClr>
                <a:defRPr/>
              </a:pPr>
              <a:r>
                <a:rPr lang="en-US" sz="1000" b="1" dirty="0" smtClean="0">
                  <a:solidFill>
                    <a:srgbClr val="000000"/>
                  </a:solidFill>
                  <a:latin typeface="Arial"/>
                  <a:cs typeface="+mn-cs"/>
                </a:rPr>
                <a:t>0</a:t>
              </a:r>
              <a:endParaRPr lang="en-US" sz="1000" b="1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10251" name="Group 18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7008494" y="4502150"/>
            <a:ext cx="398463" cy="201613"/>
            <a:chOff x="4070" y="2904"/>
            <a:chExt cx="258" cy="154"/>
          </a:xfrm>
        </p:grpSpPr>
        <p:sp>
          <p:nvSpPr>
            <p:cNvPr id="2153" name="Rectangle 19"/>
            <p:cNvSpPr>
              <a:spLocks noChangeArrowheads="1"/>
            </p:cNvSpPr>
            <p:nvPr/>
          </p:nvSpPr>
          <p:spPr bwMode="gray">
            <a:xfrm>
              <a:off x="4070" y="2904"/>
              <a:ext cx="51" cy="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algn="l" defTabSz="912813">
                <a:buClr>
                  <a:srgbClr val="7D0900"/>
                </a:buClr>
                <a:defRPr/>
              </a:pPr>
              <a:r>
                <a:rPr lang="en-US" sz="1000" b="1" dirty="0" smtClean="0">
                  <a:solidFill>
                    <a:srgbClr val="000000"/>
                  </a:solidFill>
                  <a:latin typeface="Arial"/>
                  <a:cs typeface="+mn-cs"/>
                </a:rPr>
                <a:t>T</a:t>
              </a:r>
              <a:endParaRPr lang="en-US" sz="1000" b="1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54" name="Rectangle 20"/>
            <p:cNvSpPr>
              <a:spLocks noChangeArrowheads="1"/>
            </p:cNvSpPr>
            <p:nvPr/>
          </p:nvSpPr>
          <p:spPr bwMode="gray">
            <a:xfrm>
              <a:off x="4111" y="2953"/>
              <a:ext cx="217" cy="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algn="l" defTabSz="912813">
                <a:buClr>
                  <a:srgbClr val="7D0900"/>
                </a:buClr>
                <a:defRPr/>
              </a:pPr>
              <a:r>
                <a:rPr lang="en-US" sz="1000" b="1" dirty="0" smtClean="0">
                  <a:solidFill>
                    <a:srgbClr val="000000"/>
                  </a:solidFill>
                  <a:latin typeface="Arial"/>
                  <a:cs typeface="+mn-cs"/>
                </a:rPr>
                <a:t>Profit</a:t>
              </a:r>
              <a:endParaRPr lang="en-US" sz="1000" b="1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139" name="Rectangle 2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5467032" y="5394325"/>
            <a:ext cx="746125" cy="1158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>
              <a:buClr>
                <a:srgbClr val="7D0900"/>
              </a:buClr>
              <a:defRPr/>
            </a:pPr>
            <a:endParaRPr lang="en-US" sz="1000" b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140" name="Line 22"/>
          <p:cNvSpPr>
            <a:spLocks noChangeShapeType="1"/>
          </p:cNvSpPr>
          <p:nvPr>
            <p:custDataLst>
              <p:tags r:id="rId13"/>
            </p:custDataLst>
          </p:nvPr>
        </p:nvSpPr>
        <p:spPr bwMode="gray">
          <a:xfrm>
            <a:off x="4663757" y="5189538"/>
            <a:ext cx="1166812" cy="0"/>
          </a:xfrm>
          <a:prstGeom prst="line">
            <a:avLst/>
          </a:prstGeom>
          <a:noFill/>
          <a:ln w="6350">
            <a:solidFill>
              <a:schemeClr val="accent3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pPr algn="ctr">
              <a:defRPr/>
            </a:pPr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141" name="Rectangle 2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803134" y="5101481"/>
            <a:ext cx="888064" cy="1538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912813">
              <a:buClr>
                <a:srgbClr val="7D0900"/>
              </a:buClr>
              <a:defRPr/>
            </a:pPr>
            <a:r>
              <a:rPr lang="cs-CZ" sz="1000" b="1" i="1" dirty="0" smtClean="0">
                <a:solidFill>
                  <a:srgbClr val="000000"/>
                </a:solidFill>
                <a:latin typeface="Arial"/>
                <a:cs typeface="+mn-cs"/>
              </a:rPr>
              <a:t>Uvedení na trh</a:t>
            </a:r>
            <a:endParaRPr lang="cs-CZ" sz="1000" b="1" i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142" name="Line 24"/>
          <p:cNvSpPr>
            <a:spLocks noChangeShapeType="1"/>
          </p:cNvSpPr>
          <p:nvPr>
            <p:custDataLst>
              <p:tags r:id="rId15"/>
            </p:custDataLst>
          </p:nvPr>
        </p:nvSpPr>
        <p:spPr bwMode="gray">
          <a:xfrm flipV="1">
            <a:off x="4663757" y="5459412"/>
            <a:ext cx="2241550" cy="0"/>
          </a:xfrm>
          <a:prstGeom prst="line">
            <a:avLst/>
          </a:prstGeom>
          <a:noFill/>
          <a:ln w="6350">
            <a:solidFill>
              <a:schemeClr val="accent3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pPr algn="ctr">
              <a:defRPr/>
            </a:pPr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143" name="Rectangle 25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5248180" y="5317467"/>
            <a:ext cx="1232032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912813">
              <a:buClr>
                <a:srgbClr val="7D0900"/>
              </a:buClr>
              <a:defRPr/>
            </a:pPr>
            <a:r>
              <a:rPr lang="cs-CZ" sz="1000" b="1" i="1" dirty="0" smtClean="0">
                <a:solidFill>
                  <a:srgbClr val="000000"/>
                </a:solidFill>
                <a:latin typeface="Arial"/>
                <a:cs typeface="+mn-cs"/>
              </a:rPr>
              <a:t>Doba k dosažení ziskovosti</a:t>
            </a:r>
            <a:endParaRPr lang="cs-CZ" sz="1000" b="1" i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144" name="Line 26"/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>
            <a:off x="4632007" y="4384675"/>
            <a:ext cx="4083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>
              <a:defRPr/>
            </a:pPr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145" name="Rectangle 27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8013382" y="3170238"/>
            <a:ext cx="9525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l" defTabSz="912813">
              <a:buClr>
                <a:srgbClr val="7D0900"/>
              </a:buClr>
              <a:defRPr/>
            </a:pPr>
            <a:r>
              <a:rPr lang="cs-CZ" sz="1000" b="1" dirty="0" smtClean="0">
                <a:solidFill>
                  <a:srgbClr val="000000"/>
                </a:solidFill>
                <a:latin typeface="Arial"/>
                <a:cs typeface="+mn-cs"/>
              </a:rPr>
              <a:t>Kumulovaný profit</a:t>
            </a:r>
            <a:endParaRPr lang="cs-CZ" sz="1000" b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146" name="Line 28"/>
          <p:cNvSpPr>
            <a:spLocks noChangeShapeType="1"/>
          </p:cNvSpPr>
          <p:nvPr>
            <p:custDataLst>
              <p:tags r:id="rId19"/>
            </p:custDataLst>
          </p:nvPr>
        </p:nvSpPr>
        <p:spPr bwMode="gray">
          <a:xfrm>
            <a:off x="4630419" y="3902075"/>
            <a:ext cx="0" cy="1646238"/>
          </a:xfrm>
          <a:prstGeom prst="line">
            <a:avLst/>
          </a:prstGeom>
          <a:noFill/>
          <a:ln w="3175">
            <a:solidFill>
              <a:schemeClr val="accent3"/>
            </a:solidFill>
            <a:prstDash val="dash"/>
            <a:round/>
            <a:headEnd/>
            <a:tailEnd/>
          </a:ln>
        </p:spPr>
        <p:txBody>
          <a:bodyPr wrap="none"/>
          <a:lstStyle/>
          <a:p>
            <a:pPr algn="l">
              <a:defRPr/>
            </a:pPr>
            <a:endParaRPr lang="en-US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147" name="Freeform 29"/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5844857" y="2925763"/>
            <a:ext cx="2870200" cy="2101850"/>
          </a:xfrm>
          <a:custGeom>
            <a:avLst/>
            <a:gdLst>
              <a:gd name="T0" fmla="*/ 0 w 1860"/>
              <a:gd name="T1" fmla="*/ 2147483647 h 1611"/>
              <a:gd name="T2" fmla="*/ 2147483647 w 1860"/>
              <a:gd name="T3" fmla="*/ 2147483647 h 1611"/>
              <a:gd name="T4" fmla="*/ 2147483647 w 1860"/>
              <a:gd name="T5" fmla="*/ 2147483647 h 1611"/>
              <a:gd name="T6" fmla="*/ 2147483647 w 1860"/>
              <a:gd name="T7" fmla="*/ 2147483647 h 1611"/>
              <a:gd name="T8" fmla="*/ 2147483647 w 1860"/>
              <a:gd name="T9" fmla="*/ 2147483647 h 1611"/>
              <a:gd name="T10" fmla="*/ 2147483647 w 1860"/>
              <a:gd name="T11" fmla="*/ 2147483647 h 1611"/>
              <a:gd name="T12" fmla="*/ 2147483647 w 1860"/>
              <a:gd name="T13" fmla="*/ 2147483647 h 1611"/>
              <a:gd name="T14" fmla="*/ 2147483647 w 1860"/>
              <a:gd name="T15" fmla="*/ 2147483647 h 1611"/>
              <a:gd name="T16" fmla="*/ 2147483647 w 1860"/>
              <a:gd name="T17" fmla="*/ 2147483647 h 1611"/>
              <a:gd name="T18" fmla="*/ 2147483647 w 1860"/>
              <a:gd name="T19" fmla="*/ 2147483647 h 1611"/>
              <a:gd name="T20" fmla="*/ 2147483647 w 1860"/>
              <a:gd name="T21" fmla="*/ 2147483647 h 1611"/>
              <a:gd name="T22" fmla="*/ 2147483647 w 1860"/>
              <a:gd name="T23" fmla="*/ 0 h 16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860"/>
              <a:gd name="T37" fmla="*/ 0 h 1611"/>
              <a:gd name="T38" fmla="*/ 1860 w 1860"/>
              <a:gd name="T39" fmla="*/ 1611 h 161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860" h="1611">
                <a:moveTo>
                  <a:pt x="0" y="1611"/>
                </a:moveTo>
                <a:cubicBezTo>
                  <a:pt x="55" y="1595"/>
                  <a:pt x="110" y="1580"/>
                  <a:pt x="159" y="1565"/>
                </a:cubicBezTo>
                <a:cubicBezTo>
                  <a:pt x="208" y="1550"/>
                  <a:pt x="253" y="1539"/>
                  <a:pt x="295" y="1520"/>
                </a:cubicBezTo>
                <a:cubicBezTo>
                  <a:pt x="337" y="1501"/>
                  <a:pt x="371" y="1478"/>
                  <a:pt x="409" y="1452"/>
                </a:cubicBezTo>
                <a:cubicBezTo>
                  <a:pt x="447" y="1426"/>
                  <a:pt x="484" y="1399"/>
                  <a:pt x="522" y="1361"/>
                </a:cubicBezTo>
                <a:cubicBezTo>
                  <a:pt x="560" y="1323"/>
                  <a:pt x="571" y="1323"/>
                  <a:pt x="635" y="1225"/>
                </a:cubicBezTo>
                <a:cubicBezTo>
                  <a:pt x="699" y="1127"/>
                  <a:pt x="825" y="904"/>
                  <a:pt x="908" y="772"/>
                </a:cubicBezTo>
                <a:cubicBezTo>
                  <a:pt x="991" y="640"/>
                  <a:pt x="1059" y="522"/>
                  <a:pt x="1134" y="431"/>
                </a:cubicBezTo>
                <a:cubicBezTo>
                  <a:pt x="1209" y="340"/>
                  <a:pt x="1293" y="280"/>
                  <a:pt x="1361" y="227"/>
                </a:cubicBezTo>
                <a:cubicBezTo>
                  <a:pt x="1429" y="174"/>
                  <a:pt x="1475" y="148"/>
                  <a:pt x="1543" y="114"/>
                </a:cubicBezTo>
                <a:cubicBezTo>
                  <a:pt x="1611" y="80"/>
                  <a:pt x="1716" y="42"/>
                  <a:pt x="1769" y="23"/>
                </a:cubicBezTo>
                <a:cubicBezTo>
                  <a:pt x="1822" y="4"/>
                  <a:pt x="1841" y="2"/>
                  <a:pt x="1860" y="0"/>
                </a:cubicBezTo>
              </a:path>
            </a:pathLst>
          </a:custGeom>
          <a:noFill/>
          <a:ln w="28575">
            <a:solidFill>
              <a:schemeClr val="accent1"/>
            </a:solidFill>
            <a:round/>
            <a:headEnd/>
            <a:tailEnd/>
          </a:ln>
        </p:spPr>
        <p:txBody>
          <a:bodyPr wrap="none"/>
          <a:lstStyle/>
          <a:p>
            <a:pPr algn="l">
              <a:buClr>
                <a:srgbClr val="7D0900"/>
              </a:buClr>
              <a:defRPr/>
            </a:pPr>
            <a:endParaRPr lang="en-US" sz="1000" b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151" name="Rectangle 38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8148319" y="4503738"/>
            <a:ext cx="868363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l" defTabSz="912813">
              <a:buClr>
                <a:srgbClr val="7D0900"/>
              </a:buClr>
              <a:defRPr/>
            </a:pPr>
            <a:r>
              <a:rPr lang="cs-CZ" sz="1000" b="1" dirty="0" smtClean="0">
                <a:solidFill>
                  <a:srgbClr val="000000"/>
                </a:solidFill>
                <a:latin typeface="Arial"/>
                <a:cs typeface="+mn-cs"/>
              </a:rPr>
              <a:t>Čas</a:t>
            </a:r>
            <a:endParaRPr lang="cs-CZ" sz="1000" b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152" name="Rectangle 39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244022" y="4283071"/>
            <a:ext cx="398462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912813">
              <a:buClr>
                <a:srgbClr val="7D0900"/>
              </a:buClr>
              <a:defRPr/>
            </a:pPr>
            <a:r>
              <a:rPr lang="cs-CZ" sz="1000" b="1" dirty="0" smtClean="0">
                <a:solidFill>
                  <a:srgbClr val="000000"/>
                </a:solidFill>
                <a:latin typeface="Arial"/>
                <a:cs typeface="+mn-cs"/>
              </a:rPr>
              <a:t>Idea</a:t>
            </a:r>
            <a:endParaRPr lang="cs-CZ" sz="1000" b="1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228532" y="3130550"/>
            <a:ext cx="2008187" cy="2459038"/>
            <a:chOff x="2304732" y="3130550"/>
            <a:chExt cx="2008187" cy="2459038"/>
          </a:xfrm>
        </p:grpSpPr>
        <p:grpSp>
          <p:nvGrpSpPr>
            <p:cNvPr id="10263" name="Group 57"/>
            <p:cNvGrpSpPr>
              <a:grpSpLocks/>
            </p:cNvGrpSpPr>
            <p:nvPr>
              <p:custDataLst>
                <p:tags r:id="rId40"/>
              </p:custDataLst>
            </p:nvPr>
          </p:nvGrpSpPr>
          <p:grpSpPr bwMode="auto">
            <a:xfrm>
              <a:off x="3000057" y="3146425"/>
              <a:ext cx="1312862" cy="2438400"/>
              <a:chOff x="917" y="1876"/>
              <a:chExt cx="997" cy="1703"/>
            </a:xfrm>
            <a:solidFill>
              <a:schemeClr val="accent6"/>
            </a:solidFill>
          </p:grpSpPr>
          <p:sp>
            <p:nvSpPr>
              <p:cNvPr id="2129" name="Freeform 58"/>
              <p:cNvSpPr>
                <a:spLocks/>
              </p:cNvSpPr>
              <p:nvPr/>
            </p:nvSpPr>
            <p:spPr bwMode="gray">
              <a:xfrm>
                <a:off x="917" y="1876"/>
                <a:ext cx="997" cy="1703"/>
              </a:xfrm>
              <a:custGeom>
                <a:avLst/>
                <a:gdLst>
                  <a:gd name="T0" fmla="*/ 0 w 1735"/>
                  <a:gd name="T1" fmla="*/ 1 h 2968"/>
                  <a:gd name="T2" fmla="*/ 1 w 1735"/>
                  <a:gd name="T3" fmla="*/ 1 h 2968"/>
                  <a:gd name="T4" fmla="*/ 1 w 1735"/>
                  <a:gd name="T5" fmla="*/ 1 h 2968"/>
                  <a:gd name="T6" fmla="*/ 1 w 1735"/>
                  <a:gd name="T7" fmla="*/ 1 h 2968"/>
                  <a:gd name="T8" fmla="*/ 1 w 1735"/>
                  <a:gd name="T9" fmla="*/ 1 h 2968"/>
                  <a:gd name="T10" fmla="*/ 1 w 1735"/>
                  <a:gd name="T11" fmla="*/ 1 h 2968"/>
                  <a:gd name="T12" fmla="*/ 1 w 1735"/>
                  <a:gd name="T13" fmla="*/ 0 h 296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35"/>
                  <a:gd name="T22" fmla="*/ 0 h 2968"/>
                  <a:gd name="T23" fmla="*/ 1735 w 1735"/>
                  <a:gd name="T24" fmla="*/ 2968 h 296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35" h="2968">
                    <a:moveTo>
                      <a:pt x="0" y="2968"/>
                    </a:moveTo>
                    <a:lnTo>
                      <a:pt x="1005" y="1667"/>
                    </a:lnTo>
                    <a:cubicBezTo>
                      <a:pt x="1005" y="1667"/>
                      <a:pt x="1349" y="1667"/>
                      <a:pt x="1694" y="1667"/>
                    </a:cubicBezTo>
                    <a:cubicBezTo>
                      <a:pt x="1735" y="1546"/>
                      <a:pt x="1724" y="1468"/>
                      <a:pt x="1724" y="1468"/>
                    </a:cubicBezTo>
                    <a:cubicBezTo>
                      <a:pt x="1724" y="1468"/>
                      <a:pt x="1735" y="1363"/>
                      <a:pt x="1694" y="1268"/>
                    </a:cubicBezTo>
                    <a:cubicBezTo>
                      <a:pt x="1352" y="1268"/>
                      <a:pt x="1011" y="1268"/>
                      <a:pt x="1011" y="1268"/>
                    </a:cubicBezTo>
                    <a:lnTo>
                      <a:pt x="16" y="0"/>
                    </a:lnTo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ADABA1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l">
                  <a:buClr>
                    <a:srgbClr val="7D0900"/>
                  </a:buClr>
                  <a:defRPr/>
                </a:pPr>
                <a:endParaRPr lang="en-US" sz="700" b="1" dirty="0">
                  <a:solidFill>
                    <a:schemeClr val="bg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2130" name="Freeform 59"/>
              <p:cNvSpPr>
                <a:spLocks/>
              </p:cNvSpPr>
              <p:nvPr/>
            </p:nvSpPr>
            <p:spPr bwMode="gray">
              <a:xfrm>
                <a:off x="917" y="1876"/>
                <a:ext cx="997" cy="1703"/>
              </a:xfrm>
              <a:custGeom>
                <a:avLst/>
                <a:gdLst>
                  <a:gd name="T0" fmla="*/ 0 w 1735"/>
                  <a:gd name="T1" fmla="*/ 1 h 2968"/>
                  <a:gd name="T2" fmla="*/ 1 w 1735"/>
                  <a:gd name="T3" fmla="*/ 1 h 2968"/>
                  <a:gd name="T4" fmla="*/ 1 w 1735"/>
                  <a:gd name="T5" fmla="*/ 1 h 2968"/>
                  <a:gd name="T6" fmla="*/ 1 w 1735"/>
                  <a:gd name="T7" fmla="*/ 1 h 2968"/>
                  <a:gd name="T8" fmla="*/ 1 w 1735"/>
                  <a:gd name="T9" fmla="*/ 1 h 2968"/>
                  <a:gd name="T10" fmla="*/ 1 w 1735"/>
                  <a:gd name="T11" fmla="*/ 1 h 2968"/>
                  <a:gd name="T12" fmla="*/ 1 w 1735"/>
                  <a:gd name="T13" fmla="*/ 0 h 296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35"/>
                  <a:gd name="T22" fmla="*/ 0 h 2968"/>
                  <a:gd name="T23" fmla="*/ 1735 w 1735"/>
                  <a:gd name="T24" fmla="*/ 2968 h 296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35" h="2968">
                    <a:moveTo>
                      <a:pt x="0" y="2968"/>
                    </a:moveTo>
                    <a:lnTo>
                      <a:pt x="1005" y="1667"/>
                    </a:lnTo>
                    <a:cubicBezTo>
                      <a:pt x="1005" y="1667"/>
                      <a:pt x="1349" y="1667"/>
                      <a:pt x="1694" y="1667"/>
                    </a:cubicBezTo>
                    <a:cubicBezTo>
                      <a:pt x="1735" y="1546"/>
                      <a:pt x="1724" y="1468"/>
                      <a:pt x="1724" y="1468"/>
                    </a:cubicBezTo>
                    <a:cubicBezTo>
                      <a:pt x="1724" y="1468"/>
                      <a:pt x="1735" y="1363"/>
                      <a:pt x="1694" y="1268"/>
                    </a:cubicBezTo>
                    <a:cubicBezTo>
                      <a:pt x="1352" y="1268"/>
                      <a:pt x="1011" y="1268"/>
                      <a:pt x="1011" y="1268"/>
                    </a:cubicBezTo>
                    <a:lnTo>
                      <a:pt x="16" y="0"/>
                    </a:lnTo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6350">
                    <a:solidFill>
                      <a:srgbClr val="ADABA1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l">
                  <a:buClr>
                    <a:srgbClr val="7D0900"/>
                  </a:buClr>
                  <a:defRPr/>
                </a:pPr>
                <a:endParaRPr lang="en-US" sz="700" b="1" dirty="0">
                  <a:solidFill>
                    <a:schemeClr val="bg1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2092" name="Freeform 60"/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3604894" y="3994150"/>
              <a:ext cx="50800" cy="717550"/>
            </a:xfrm>
            <a:custGeom>
              <a:avLst/>
              <a:gdLst>
                <a:gd name="T0" fmla="*/ 0 w 40"/>
                <a:gd name="T1" fmla="*/ 2147483647 h 502"/>
                <a:gd name="T2" fmla="*/ 2147483647 w 40"/>
                <a:gd name="T3" fmla="*/ 2147483647 h 502"/>
                <a:gd name="T4" fmla="*/ 2147483647 w 40"/>
                <a:gd name="T5" fmla="*/ 0 h 502"/>
                <a:gd name="T6" fmla="*/ 0 60000 65536"/>
                <a:gd name="T7" fmla="*/ 0 60000 65536"/>
                <a:gd name="T8" fmla="*/ 0 60000 65536"/>
                <a:gd name="T9" fmla="*/ 0 w 40"/>
                <a:gd name="T10" fmla="*/ 0 h 502"/>
                <a:gd name="T11" fmla="*/ 40 w 40"/>
                <a:gd name="T12" fmla="*/ 502 h 50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" h="502">
                  <a:moveTo>
                    <a:pt x="0" y="502"/>
                  </a:moveTo>
                  <a:cubicBezTo>
                    <a:pt x="10" y="490"/>
                    <a:pt x="34" y="456"/>
                    <a:pt x="37" y="251"/>
                  </a:cubicBezTo>
                  <a:cubicBezTo>
                    <a:pt x="40" y="47"/>
                    <a:pt x="13" y="21"/>
                    <a:pt x="2" y="0"/>
                  </a:cubicBezTo>
                </a:path>
              </a:pathLst>
            </a:custGeom>
            <a:noFill/>
            <a:ln w="14288">
              <a:solidFill>
                <a:schemeClr val="bg1"/>
              </a:solidFill>
              <a:round/>
              <a:headEnd/>
              <a:tailEnd/>
            </a:ln>
          </p:spPr>
          <p:txBody>
            <a:bodyPr tIns="39600"/>
            <a:lstStyle/>
            <a:p>
              <a:pPr algn="l">
                <a:buClr>
                  <a:srgbClr val="7D0900"/>
                </a:buClr>
                <a:defRPr/>
              </a:pPr>
              <a:endParaRPr lang="en-US" sz="700" b="1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93" name="Freeform 61"/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4041457" y="4191000"/>
              <a:ext cx="34925" cy="328613"/>
            </a:xfrm>
            <a:custGeom>
              <a:avLst/>
              <a:gdLst>
                <a:gd name="T0" fmla="*/ 0 w 25"/>
                <a:gd name="T1" fmla="*/ 2147483647 h 230"/>
                <a:gd name="T2" fmla="*/ 2147483647 w 25"/>
                <a:gd name="T3" fmla="*/ 2147483647 h 230"/>
                <a:gd name="T4" fmla="*/ 2147483647 w 25"/>
                <a:gd name="T5" fmla="*/ 0 h 230"/>
                <a:gd name="T6" fmla="*/ 0 60000 65536"/>
                <a:gd name="T7" fmla="*/ 0 60000 65536"/>
                <a:gd name="T8" fmla="*/ 0 60000 65536"/>
                <a:gd name="T9" fmla="*/ 0 w 25"/>
                <a:gd name="T10" fmla="*/ 0 h 230"/>
                <a:gd name="T11" fmla="*/ 25 w 25"/>
                <a:gd name="T12" fmla="*/ 230 h 23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5" h="230">
                  <a:moveTo>
                    <a:pt x="0" y="230"/>
                  </a:moveTo>
                  <a:cubicBezTo>
                    <a:pt x="6" y="224"/>
                    <a:pt x="22" y="209"/>
                    <a:pt x="24" y="115"/>
                  </a:cubicBezTo>
                  <a:cubicBezTo>
                    <a:pt x="25" y="22"/>
                    <a:pt x="9" y="10"/>
                    <a:pt x="2" y="0"/>
                  </a:cubicBezTo>
                </a:path>
              </a:pathLst>
            </a:custGeom>
            <a:noFill/>
            <a:ln w="14288">
              <a:solidFill>
                <a:schemeClr val="bg1"/>
              </a:solidFill>
              <a:round/>
              <a:headEnd/>
              <a:tailEnd/>
            </a:ln>
          </p:spPr>
          <p:txBody>
            <a:bodyPr tIns="39600"/>
            <a:lstStyle/>
            <a:p>
              <a:pPr algn="l">
                <a:buClr>
                  <a:srgbClr val="7D0900"/>
                </a:buClr>
                <a:defRPr/>
              </a:pPr>
              <a:endParaRPr lang="en-US" sz="700" b="1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Oval 63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2833369" y="3130550"/>
              <a:ext cx="327025" cy="2459038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buClr>
                  <a:srgbClr val="7D0900"/>
                </a:buClr>
                <a:defRPr/>
              </a:pPr>
              <a:endParaRPr lang="en-US" sz="7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95" name="Freeform 65"/>
            <p:cNvSpPr>
              <a:spLocks/>
            </p:cNvSpPr>
            <p:nvPr>
              <p:custDataLst>
                <p:tags r:id="rId44"/>
              </p:custDataLst>
            </p:nvPr>
          </p:nvSpPr>
          <p:spPr bwMode="gray">
            <a:xfrm>
              <a:off x="3331844" y="3608388"/>
              <a:ext cx="73025" cy="1497012"/>
            </a:xfrm>
            <a:custGeom>
              <a:avLst/>
              <a:gdLst>
                <a:gd name="T0" fmla="*/ 0 w 55"/>
                <a:gd name="T1" fmla="*/ 2147483647 h 1046"/>
                <a:gd name="T2" fmla="*/ 2147483647 w 55"/>
                <a:gd name="T3" fmla="*/ 2147483647 h 1046"/>
                <a:gd name="T4" fmla="*/ 2147483647 w 55"/>
                <a:gd name="T5" fmla="*/ 0 h 1046"/>
                <a:gd name="T6" fmla="*/ 0 60000 65536"/>
                <a:gd name="T7" fmla="*/ 0 60000 65536"/>
                <a:gd name="T8" fmla="*/ 0 60000 65536"/>
                <a:gd name="T9" fmla="*/ 0 w 55"/>
                <a:gd name="T10" fmla="*/ 0 h 1046"/>
                <a:gd name="T11" fmla="*/ 55 w 55"/>
                <a:gd name="T12" fmla="*/ 1046 h 104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" h="1046">
                  <a:moveTo>
                    <a:pt x="0" y="1046"/>
                  </a:moveTo>
                  <a:cubicBezTo>
                    <a:pt x="14" y="1022"/>
                    <a:pt x="48" y="950"/>
                    <a:pt x="52" y="523"/>
                  </a:cubicBezTo>
                  <a:cubicBezTo>
                    <a:pt x="55" y="98"/>
                    <a:pt x="19" y="43"/>
                    <a:pt x="4" y="0"/>
                  </a:cubicBezTo>
                </a:path>
              </a:pathLst>
            </a:custGeom>
            <a:noFill/>
            <a:ln w="14288">
              <a:solidFill>
                <a:schemeClr val="bg1"/>
              </a:solidFill>
              <a:round/>
              <a:headEnd/>
              <a:tailEnd/>
            </a:ln>
          </p:spPr>
          <p:txBody>
            <a:bodyPr tIns="39600"/>
            <a:lstStyle/>
            <a:p>
              <a:pPr algn="l">
                <a:buClr>
                  <a:srgbClr val="7D0900"/>
                </a:buClr>
                <a:defRPr/>
              </a:pPr>
              <a:endParaRPr lang="en-US" sz="700" b="1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96" name="Oval 66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2890519" y="3502025"/>
              <a:ext cx="388938" cy="201613"/>
            </a:xfrm>
            <a:prstGeom prst="ellipse">
              <a:avLst/>
            </a:prstGeom>
            <a:solidFill>
              <a:schemeClr val="bg2"/>
            </a:solidFill>
            <a:ln w="6350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ADABA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10800" rIns="0" bIns="0" anchor="ctr"/>
            <a:lstStyle/>
            <a:p>
              <a:pPr algn="ctr">
                <a:lnSpc>
                  <a:spcPct val="80000"/>
                </a:lnSpc>
                <a:buClr>
                  <a:srgbClr val="7D0900"/>
                </a:buClr>
                <a:defRPr/>
              </a:pPr>
              <a:r>
                <a:rPr lang="en-US" sz="700" b="1" i="1" dirty="0" smtClean="0">
                  <a:solidFill>
                    <a:schemeClr val="bg1"/>
                  </a:solidFill>
                  <a:latin typeface="Arial"/>
                  <a:cs typeface="Arial"/>
                </a:rPr>
                <a:t>Idea</a:t>
              </a:r>
              <a:endParaRPr lang="en-US" sz="700" b="1" i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097" name="Oval 66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3816032" y="4249738"/>
              <a:ext cx="388937" cy="200025"/>
            </a:xfrm>
            <a:prstGeom prst="ellipse">
              <a:avLst/>
            </a:prstGeom>
            <a:solidFill>
              <a:schemeClr val="bg2"/>
            </a:solidFill>
            <a:ln w="6350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ADABA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10800" rIns="0" bIns="0" anchor="ctr"/>
            <a:lstStyle/>
            <a:p>
              <a:pPr algn="ctr">
                <a:lnSpc>
                  <a:spcPct val="80000"/>
                </a:lnSpc>
                <a:buClr>
                  <a:srgbClr val="7D0900"/>
                </a:buClr>
                <a:defRPr/>
              </a:pPr>
              <a:r>
                <a:rPr lang="en-US" sz="700" b="1" i="1" dirty="0" smtClean="0">
                  <a:solidFill>
                    <a:schemeClr val="bg1"/>
                  </a:solidFill>
                  <a:latin typeface="Arial"/>
                  <a:cs typeface="Arial"/>
                </a:rPr>
                <a:t>Idea</a:t>
              </a:r>
              <a:endParaRPr lang="en-US" sz="700" b="1" i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098" name="Oval 66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3090544" y="3986213"/>
              <a:ext cx="387350" cy="200025"/>
            </a:xfrm>
            <a:prstGeom prst="ellipse">
              <a:avLst/>
            </a:prstGeom>
            <a:solidFill>
              <a:schemeClr val="bg2"/>
            </a:solidFill>
            <a:ln w="6350">
              <a:solidFill>
                <a:srgbClr val="ADABA1"/>
              </a:solidFill>
              <a:round/>
              <a:headEnd/>
              <a:tailEnd/>
            </a:ln>
          </p:spPr>
          <p:txBody>
            <a:bodyPr wrap="none" lIns="0" tIns="10800" rIns="0" bIns="0" anchor="ctr"/>
            <a:lstStyle/>
            <a:p>
              <a:pPr algn="ctr">
                <a:lnSpc>
                  <a:spcPct val="80000"/>
                </a:lnSpc>
                <a:buClr>
                  <a:srgbClr val="7D0900"/>
                </a:buClr>
                <a:defRPr/>
              </a:pPr>
              <a:r>
                <a:rPr lang="en-US" sz="700" b="1" i="1" dirty="0" smtClean="0">
                  <a:solidFill>
                    <a:schemeClr val="bg1"/>
                  </a:solidFill>
                  <a:latin typeface="Arial"/>
                  <a:cs typeface="Arial"/>
                </a:rPr>
                <a:t>Idea</a:t>
              </a:r>
              <a:endParaRPr lang="en-US" sz="700" b="1" i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099" name="Oval 66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3003549" y="4248150"/>
              <a:ext cx="387350" cy="201613"/>
            </a:xfrm>
            <a:prstGeom prst="ellipse">
              <a:avLst/>
            </a:prstGeom>
            <a:solidFill>
              <a:schemeClr val="bg2"/>
            </a:solidFill>
            <a:ln w="6350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ADABA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10800" rIns="0" bIns="0" anchor="ctr"/>
            <a:lstStyle/>
            <a:p>
              <a:pPr algn="ctr">
                <a:lnSpc>
                  <a:spcPct val="80000"/>
                </a:lnSpc>
                <a:buClr>
                  <a:srgbClr val="7D0900"/>
                </a:buClr>
                <a:defRPr/>
              </a:pPr>
              <a:r>
                <a:rPr lang="en-US" sz="700" b="1" i="1" dirty="0" smtClean="0">
                  <a:solidFill>
                    <a:schemeClr val="bg1"/>
                  </a:solidFill>
                  <a:latin typeface="Arial"/>
                  <a:cs typeface="Arial"/>
                </a:rPr>
                <a:t>Idea</a:t>
              </a:r>
              <a:endParaRPr lang="en-US" sz="700" b="1" i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100" name="Oval 66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2879407" y="4608513"/>
              <a:ext cx="388937" cy="200025"/>
            </a:xfrm>
            <a:prstGeom prst="ellipse">
              <a:avLst/>
            </a:prstGeom>
            <a:solidFill>
              <a:schemeClr val="bg2"/>
            </a:solidFill>
            <a:ln w="6350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ADABA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10800" rIns="0" bIns="0" anchor="ctr"/>
            <a:lstStyle/>
            <a:p>
              <a:pPr algn="ctr">
                <a:lnSpc>
                  <a:spcPct val="80000"/>
                </a:lnSpc>
                <a:buClr>
                  <a:srgbClr val="7D0900"/>
                </a:buClr>
                <a:defRPr/>
              </a:pPr>
              <a:r>
                <a:rPr lang="en-US" sz="700" b="1" i="1" dirty="0" smtClean="0">
                  <a:solidFill>
                    <a:schemeClr val="bg1"/>
                  </a:solidFill>
                  <a:latin typeface="Arial"/>
                  <a:cs typeface="Arial"/>
                </a:rPr>
                <a:t>Idea</a:t>
              </a:r>
              <a:endParaRPr lang="en-US" sz="700" b="1" i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101" name="Oval 66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2966719" y="4903788"/>
              <a:ext cx="387350" cy="201612"/>
            </a:xfrm>
            <a:prstGeom prst="ellipse">
              <a:avLst/>
            </a:prstGeom>
            <a:solidFill>
              <a:schemeClr val="bg2"/>
            </a:solidFill>
            <a:ln w="6350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ADABA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10800" rIns="0" bIns="0" anchor="ctr"/>
            <a:lstStyle/>
            <a:p>
              <a:pPr algn="ctr">
                <a:lnSpc>
                  <a:spcPct val="80000"/>
                </a:lnSpc>
                <a:buClr>
                  <a:srgbClr val="7D0900"/>
                </a:buClr>
                <a:defRPr/>
              </a:pPr>
              <a:r>
                <a:rPr lang="en-US" sz="700" b="1" i="1" dirty="0" smtClean="0">
                  <a:solidFill>
                    <a:schemeClr val="bg1"/>
                  </a:solidFill>
                  <a:latin typeface="Arial"/>
                  <a:cs typeface="Arial"/>
                </a:rPr>
                <a:t>Idea</a:t>
              </a:r>
              <a:endParaRPr lang="en-US" sz="700" b="1" i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102" name="Oval 66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3387407" y="4191000"/>
              <a:ext cx="388937" cy="200025"/>
            </a:xfrm>
            <a:prstGeom prst="ellipse">
              <a:avLst/>
            </a:prstGeom>
            <a:solidFill>
              <a:schemeClr val="bg2"/>
            </a:solidFill>
            <a:ln w="6350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ADABA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10800" rIns="0" bIns="0" anchor="ctr"/>
            <a:lstStyle/>
            <a:p>
              <a:pPr algn="ctr">
                <a:lnSpc>
                  <a:spcPct val="80000"/>
                </a:lnSpc>
                <a:buClr>
                  <a:srgbClr val="7D0900"/>
                </a:buClr>
                <a:defRPr/>
              </a:pPr>
              <a:r>
                <a:rPr lang="en-US" sz="700" b="1" i="1" dirty="0" smtClean="0">
                  <a:solidFill>
                    <a:schemeClr val="bg1"/>
                  </a:solidFill>
                  <a:latin typeface="Arial"/>
                  <a:cs typeface="Arial"/>
                </a:rPr>
                <a:t>Idea</a:t>
              </a:r>
              <a:endParaRPr lang="en-US" sz="700" b="1" i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103" name="Oval 66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3217544" y="4443413"/>
              <a:ext cx="387350" cy="200025"/>
            </a:xfrm>
            <a:prstGeom prst="ellipse">
              <a:avLst/>
            </a:prstGeom>
            <a:solidFill>
              <a:schemeClr val="bg2"/>
            </a:solidFill>
            <a:ln w="6350">
              <a:solidFill>
                <a:srgbClr val="ADABA1"/>
              </a:solidFill>
              <a:round/>
              <a:headEnd/>
              <a:tailEnd/>
            </a:ln>
          </p:spPr>
          <p:txBody>
            <a:bodyPr wrap="none" lIns="0" tIns="10800" rIns="0" bIns="0" anchor="ctr"/>
            <a:lstStyle/>
            <a:p>
              <a:pPr algn="ctr">
                <a:lnSpc>
                  <a:spcPct val="80000"/>
                </a:lnSpc>
                <a:buClr>
                  <a:srgbClr val="7D0900"/>
                </a:buClr>
                <a:defRPr/>
              </a:pPr>
              <a:r>
                <a:rPr lang="en-US" sz="700" b="1" i="1" dirty="0" smtClean="0">
                  <a:solidFill>
                    <a:schemeClr val="bg1"/>
                  </a:solidFill>
                  <a:latin typeface="Arial"/>
                  <a:cs typeface="Arial"/>
                </a:rPr>
                <a:t>Idea</a:t>
              </a:r>
              <a:endParaRPr lang="en-US" sz="700" b="1" i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104" name="Oval 66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2931794" y="3757613"/>
              <a:ext cx="388938" cy="200025"/>
            </a:xfrm>
            <a:prstGeom prst="ellipse">
              <a:avLst/>
            </a:prstGeom>
            <a:solidFill>
              <a:schemeClr val="bg2"/>
            </a:solidFill>
            <a:ln w="6350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ADABA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10800" rIns="0" bIns="0" anchor="ctr"/>
            <a:lstStyle/>
            <a:p>
              <a:pPr algn="ctr">
                <a:lnSpc>
                  <a:spcPct val="80000"/>
                </a:lnSpc>
                <a:buClr>
                  <a:srgbClr val="7D0900"/>
                </a:buClr>
                <a:defRPr/>
              </a:pPr>
              <a:r>
                <a:rPr lang="en-US" sz="700" b="1" i="1" dirty="0" smtClean="0">
                  <a:solidFill>
                    <a:schemeClr val="bg1"/>
                  </a:solidFill>
                  <a:latin typeface="Arial"/>
                  <a:cs typeface="Arial"/>
                </a:rPr>
                <a:t>Idea</a:t>
              </a:r>
              <a:endParaRPr lang="en-US" sz="700" b="1" i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105" name="Oval 66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2596832" y="3656013"/>
              <a:ext cx="388937" cy="200025"/>
            </a:xfrm>
            <a:prstGeom prst="ellipse">
              <a:avLst/>
            </a:prstGeom>
            <a:solidFill>
              <a:schemeClr val="bg2"/>
            </a:solidFill>
            <a:ln w="6350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ADABA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10800" rIns="0" bIns="0" anchor="ctr"/>
            <a:lstStyle/>
            <a:p>
              <a:pPr algn="ctr">
                <a:lnSpc>
                  <a:spcPct val="80000"/>
                </a:lnSpc>
                <a:buClr>
                  <a:srgbClr val="7D0900"/>
                </a:buClr>
                <a:defRPr/>
              </a:pPr>
              <a:r>
                <a:rPr lang="en-US" sz="700" b="1" i="1" dirty="0" smtClean="0">
                  <a:solidFill>
                    <a:schemeClr val="bg1"/>
                  </a:solidFill>
                  <a:latin typeface="Arial"/>
                  <a:cs typeface="Arial"/>
                </a:rPr>
                <a:t>Idea</a:t>
              </a:r>
              <a:endParaRPr lang="en-US" sz="700" b="1" i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106" name="Oval 66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2603182" y="4191000"/>
              <a:ext cx="388937" cy="200025"/>
            </a:xfrm>
            <a:prstGeom prst="ellipse">
              <a:avLst/>
            </a:prstGeom>
            <a:solidFill>
              <a:schemeClr val="bg2"/>
            </a:solidFill>
            <a:ln w="6350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ADABA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10800" rIns="0" bIns="0" anchor="ctr"/>
            <a:lstStyle/>
            <a:p>
              <a:pPr algn="ctr">
                <a:lnSpc>
                  <a:spcPct val="80000"/>
                </a:lnSpc>
                <a:buClr>
                  <a:srgbClr val="7D0900"/>
                </a:buClr>
                <a:defRPr/>
              </a:pPr>
              <a:r>
                <a:rPr lang="en-US" sz="700" b="1" i="1" dirty="0" smtClean="0">
                  <a:solidFill>
                    <a:schemeClr val="bg1"/>
                  </a:solidFill>
                  <a:latin typeface="Arial"/>
                  <a:cs typeface="Arial"/>
                </a:rPr>
                <a:t>Idea</a:t>
              </a:r>
              <a:endParaRPr lang="en-US" sz="700" b="1" i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107" name="Oval 66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2488882" y="4543425"/>
              <a:ext cx="388937" cy="200025"/>
            </a:xfrm>
            <a:prstGeom prst="ellipse">
              <a:avLst/>
            </a:prstGeom>
            <a:solidFill>
              <a:schemeClr val="bg2"/>
            </a:solidFill>
            <a:ln w="6350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ADABA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10800" rIns="0" bIns="0" anchor="ctr"/>
            <a:lstStyle/>
            <a:p>
              <a:pPr algn="ctr">
                <a:lnSpc>
                  <a:spcPct val="80000"/>
                </a:lnSpc>
                <a:buClr>
                  <a:srgbClr val="7D0900"/>
                </a:buClr>
                <a:defRPr/>
              </a:pPr>
              <a:r>
                <a:rPr lang="en-US" sz="700" b="1" i="1" dirty="0" smtClean="0">
                  <a:solidFill>
                    <a:schemeClr val="bg1"/>
                  </a:solidFill>
                  <a:latin typeface="Arial"/>
                  <a:cs typeface="Arial"/>
                </a:rPr>
                <a:t>Idea</a:t>
              </a:r>
              <a:endParaRPr lang="en-US" sz="700" b="1" i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2108" name="Oval 66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2665094" y="5070475"/>
              <a:ext cx="388938" cy="201613"/>
            </a:xfrm>
            <a:prstGeom prst="ellipse">
              <a:avLst/>
            </a:prstGeom>
            <a:solidFill>
              <a:schemeClr val="bg2"/>
            </a:solidFill>
            <a:ln w="6350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ADABA1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10800" rIns="0" bIns="0" anchor="ctr"/>
            <a:lstStyle/>
            <a:p>
              <a:pPr algn="ctr">
                <a:lnSpc>
                  <a:spcPct val="80000"/>
                </a:lnSpc>
                <a:buClr>
                  <a:srgbClr val="7D0900"/>
                </a:buClr>
                <a:defRPr/>
              </a:pPr>
              <a:r>
                <a:rPr lang="en-US" sz="700" b="1" i="1" dirty="0" smtClean="0">
                  <a:solidFill>
                    <a:schemeClr val="bg1"/>
                  </a:solidFill>
                  <a:latin typeface="Arial"/>
                  <a:cs typeface="Arial"/>
                </a:rPr>
                <a:t>Idea</a:t>
              </a:r>
              <a:endParaRPr lang="en-US" sz="700" b="1" i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grpSp>
          <p:nvGrpSpPr>
            <p:cNvPr id="10281" name="Group 125"/>
            <p:cNvGrpSpPr>
              <a:grpSpLocks/>
            </p:cNvGrpSpPr>
            <p:nvPr>
              <p:custDataLst>
                <p:tags r:id="rId58"/>
              </p:custDataLst>
            </p:nvPr>
          </p:nvGrpSpPr>
          <p:grpSpPr bwMode="auto">
            <a:xfrm>
              <a:off x="2412682" y="3673475"/>
              <a:ext cx="158750" cy="157163"/>
              <a:chOff x="421456" y="3637844"/>
              <a:chExt cx="114173" cy="84138"/>
            </a:xfrm>
          </p:grpSpPr>
          <p:cxnSp>
            <p:nvCxnSpPr>
              <p:cNvPr id="119" name="Straight Connector 118"/>
              <p:cNvCxnSpPr/>
              <p:nvPr/>
            </p:nvCxnSpPr>
            <p:spPr bwMode="gray">
              <a:xfrm>
                <a:off x="420314" y="3637844"/>
                <a:ext cx="114173" cy="1700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2" name="Straight Connector 121"/>
              <p:cNvCxnSpPr/>
              <p:nvPr/>
            </p:nvCxnSpPr>
            <p:spPr bwMode="gray">
              <a:xfrm>
                <a:off x="420314" y="3664190"/>
                <a:ext cx="57087" cy="1700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4" name="Straight Connector 123"/>
              <p:cNvCxnSpPr/>
              <p:nvPr/>
            </p:nvCxnSpPr>
            <p:spPr bwMode="gray">
              <a:xfrm>
                <a:off x="420314" y="3693086"/>
                <a:ext cx="57087" cy="1700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5" name="Straight Connector 124"/>
              <p:cNvCxnSpPr/>
              <p:nvPr/>
            </p:nvCxnSpPr>
            <p:spPr bwMode="gray">
              <a:xfrm>
                <a:off x="420314" y="3719432"/>
                <a:ext cx="114173" cy="1700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282" name="Group 126"/>
            <p:cNvGrpSpPr>
              <a:grpSpLocks/>
            </p:cNvGrpSpPr>
            <p:nvPr>
              <p:custDataLst>
                <p:tags r:id="rId59"/>
              </p:custDataLst>
            </p:nvPr>
          </p:nvGrpSpPr>
          <p:grpSpPr bwMode="auto">
            <a:xfrm>
              <a:off x="2419032" y="4214813"/>
              <a:ext cx="157162" cy="157162"/>
              <a:chOff x="421456" y="3637844"/>
              <a:chExt cx="114173" cy="84138"/>
            </a:xfrm>
          </p:grpSpPr>
          <p:cxnSp>
            <p:nvCxnSpPr>
              <p:cNvPr id="128" name="Straight Connector 127"/>
              <p:cNvCxnSpPr/>
              <p:nvPr/>
            </p:nvCxnSpPr>
            <p:spPr bwMode="gray">
              <a:xfrm>
                <a:off x="421456" y="3636994"/>
                <a:ext cx="114173" cy="1700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9" name="Straight Connector 128"/>
              <p:cNvCxnSpPr/>
              <p:nvPr/>
            </p:nvCxnSpPr>
            <p:spPr bwMode="gray">
              <a:xfrm>
                <a:off x="421456" y="3663340"/>
                <a:ext cx="56510" cy="1700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0" name="Straight Connector 129"/>
              <p:cNvCxnSpPr/>
              <p:nvPr/>
            </p:nvCxnSpPr>
            <p:spPr bwMode="gray">
              <a:xfrm>
                <a:off x="421456" y="3692236"/>
                <a:ext cx="56510" cy="1700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1" name="Straight Connector 130"/>
              <p:cNvCxnSpPr/>
              <p:nvPr/>
            </p:nvCxnSpPr>
            <p:spPr bwMode="gray">
              <a:xfrm>
                <a:off x="421456" y="3720282"/>
                <a:ext cx="114173" cy="1700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283" name="Group 131"/>
            <p:cNvGrpSpPr>
              <a:grpSpLocks/>
            </p:cNvGrpSpPr>
            <p:nvPr>
              <p:custDataLst>
                <p:tags r:id="rId60"/>
              </p:custDataLst>
            </p:nvPr>
          </p:nvGrpSpPr>
          <p:grpSpPr bwMode="auto">
            <a:xfrm>
              <a:off x="2304732" y="4570413"/>
              <a:ext cx="158750" cy="155575"/>
              <a:chOff x="421456" y="3637844"/>
              <a:chExt cx="114173" cy="84138"/>
            </a:xfrm>
          </p:grpSpPr>
          <p:cxnSp>
            <p:nvCxnSpPr>
              <p:cNvPr id="133" name="Straight Connector 132"/>
              <p:cNvCxnSpPr/>
              <p:nvPr/>
            </p:nvCxnSpPr>
            <p:spPr bwMode="gray">
              <a:xfrm>
                <a:off x="421456" y="3637844"/>
                <a:ext cx="114173" cy="1717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4" name="Straight Connector 133"/>
              <p:cNvCxnSpPr/>
              <p:nvPr/>
            </p:nvCxnSpPr>
            <p:spPr bwMode="gray">
              <a:xfrm>
                <a:off x="421456" y="3666176"/>
                <a:ext cx="57087" cy="1717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5" name="Straight Connector 134"/>
              <p:cNvCxnSpPr/>
              <p:nvPr/>
            </p:nvCxnSpPr>
            <p:spPr bwMode="gray">
              <a:xfrm>
                <a:off x="421456" y="3694508"/>
                <a:ext cx="57087" cy="1717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6" name="Straight Connector 135"/>
              <p:cNvCxnSpPr/>
              <p:nvPr/>
            </p:nvCxnSpPr>
            <p:spPr bwMode="gray">
              <a:xfrm>
                <a:off x="421456" y="3720265"/>
                <a:ext cx="114173" cy="2575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284" name="Group 136"/>
            <p:cNvGrpSpPr>
              <a:grpSpLocks/>
            </p:cNvGrpSpPr>
            <p:nvPr>
              <p:custDataLst>
                <p:tags r:id="rId61"/>
              </p:custDataLst>
            </p:nvPr>
          </p:nvGrpSpPr>
          <p:grpSpPr bwMode="auto">
            <a:xfrm>
              <a:off x="2476182" y="5097463"/>
              <a:ext cx="158750" cy="157162"/>
              <a:chOff x="421456" y="3637844"/>
              <a:chExt cx="114173" cy="84138"/>
            </a:xfrm>
          </p:grpSpPr>
          <p:cxnSp>
            <p:nvCxnSpPr>
              <p:cNvPr id="138" name="Straight Connector 137"/>
              <p:cNvCxnSpPr/>
              <p:nvPr/>
            </p:nvCxnSpPr>
            <p:spPr bwMode="gray">
              <a:xfrm>
                <a:off x="421456" y="3636994"/>
                <a:ext cx="114173" cy="1700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9" name="Straight Connector 138"/>
              <p:cNvCxnSpPr/>
              <p:nvPr/>
            </p:nvCxnSpPr>
            <p:spPr bwMode="gray">
              <a:xfrm>
                <a:off x="421456" y="3663340"/>
                <a:ext cx="55944" cy="1700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0" name="Straight Connector 139"/>
              <p:cNvCxnSpPr/>
              <p:nvPr/>
            </p:nvCxnSpPr>
            <p:spPr bwMode="gray">
              <a:xfrm>
                <a:off x="421456" y="3692236"/>
                <a:ext cx="55944" cy="1700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1" name="Straight Connector 140"/>
              <p:cNvCxnSpPr/>
              <p:nvPr/>
            </p:nvCxnSpPr>
            <p:spPr bwMode="gray">
              <a:xfrm>
                <a:off x="421456" y="3720282"/>
                <a:ext cx="114173" cy="1700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bg1">
                    <a:lumMod val="50000"/>
                  </a:scheme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4" name="AutoShape 47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2234882" y="2133599"/>
            <a:ext cx="2222500" cy="586675"/>
          </a:xfrm>
          <a:prstGeom prst="wedgeRectCallout">
            <a:avLst>
              <a:gd name="adj1" fmla="val -18116"/>
              <a:gd name="adj2" fmla="val 105844"/>
            </a:avLst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xtLst/>
        </p:spPr>
        <p:txBody>
          <a:bodyPr lIns="72009" tIns="72009" rIns="72009" bIns="72009" anchor="ctr"/>
          <a:lstStyle/>
          <a:p>
            <a:pPr algn="ctr" defTabSz="912813">
              <a:lnSpc>
                <a:spcPct val="90000"/>
              </a:lnSpc>
              <a:buClr>
                <a:srgbClr val="7D0900"/>
              </a:buClr>
              <a:defRPr/>
            </a:pPr>
            <a:r>
              <a:rPr lang="cs-CZ" sz="1400" b="1" dirty="0" smtClean="0">
                <a:solidFill>
                  <a:schemeClr val="bg1"/>
                </a:solidFill>
                <a:latin typeface="Arial"/>
                <a:cs typeface="Arial"/>
              </a:rPr>
              <a:t>Optimalizace hodnoty portfolia inovací</a:t>
            </a:r>
            <a:endParaRPr lang="cs-CZ" sz="1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149" name="AutoShape 34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 rot="10800000">
            <a:off x="6622732" y="4259263"/>
            <a:ext cx="512762" cy="242887"/>
          </a:xfrm>
          <a:prstGeom prst="rightArrow">
            <a:avLst>
              <a:gd name="adj1" fmla="val 56704"/>
              <a:gd name="adj2" fmla="val 37179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>
              <a:buClr>
                <a:srgbClr val="7D0900"/>
              </a:buClr>
              <a:defRPr/>
            </a:pPr>
            <a:endParaRPr lang="en-US" sz="1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148" name="AutoShape 31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 rot="16200000">
            <a:off x="5141594" y="4562475"/>
            <a:ext cx="433388" cy="242888"/>
          </a:xfrm>
          <a:prstGeom prst="rightArrow">
            <a:avLst>
              <a:gd name="adj1" fmla="val 56704"/>
              <a:gd name="adj2" fmla="val 37784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l">
              <a:buClr>
                <a:srgbClr val="7D0900"/>
              </a:buClr>
              <a:defRPr/>
            </a:pPr>
            <a:endParaRPr lang="en-US" sz="1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087" name="AutoShape 47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4630419" y="3238499"/>
            <a:ext cx="2236788" cy="586675"/>
          </a:xfrm>
          <a:prstGeom prst="wedgeRectCallout">
            <a:avLst>
              <a:gd name="adj1" fmla="val 7063"/>
              <a:gd name="adj2" fmla="val 103429"/>
            </a:avLst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xtLst/>
        </p:spPr>
        <p:txBody>
          <a:bodyPr lIns="72009" tIns="72009" rIns="72009" bIns="72009" anchor="ctr"/>
          <a:lstStyle/>
          <a:p>
            <a:pPr algn="ctr" defTabSz="912813">
              <a:lnSpc>
                <a:spcPct val="90000"/>
              </a:lnSpc>
              <a:buClr>
                <a:srgbClr val="7D0900"/>
              </a:buClr>
            </a:pPr>
            <a:r>
              <a:rPr lang="cs-CZ" sz="1400" b="1" dirty="0" smtClean="0">
                <a:solidFill>
                  <a:schemeClr val="bg1"/>
                </a:solidFill>
                <a:latin typeface="Arial"/>
                <a:cs typeface="Arial"/>
              </a:rPr>
              <a:t>Zvýšení efektivnosti a rychlosti inovací</a:t>
            </a:r>
            <a:endParaRPr lang="cs-CZ" sz="1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150" name="AutoShape 36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 rot="16200000">
            <a:off x="7319644" y="3400425"/>
            <a:ext cx="433388" cy="242888"/>
          </a:xfrm>
          <a:prstGeom prst="rightArrow">
            <a:avLst>
              <a:gd name="adj1" fmla="val 56704"/>
              <a:gd name="adj2" fmla="val 35480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l">
              <a:buClr>
                <a:srgbClr val="7D0900"/>
              </a:buClr>
              <a:defRPr/>
            </a:pPr>
            <a:endParaRPr lang="en-US" sz="9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085" name="AutoShape 50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6902132" y="2112963"/>
            <a:ext cx="1987550" cy="584517"/>
          </a:xfrm>
          <a:prstGeom prst="wedgeRectCallout">
            <a:avLst>
              <a:gd name="adj1" fmla="val -19112"/>
              <a:gd name="adj2" fmla="val 134062"/>
            </a:avLst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xtLst/>
        </p:spPr>
        <p:txBody>
          <a:bodyPr lIns="72009" tIns="72009" rIns="72009" bIns="72009" anchor="ctr"/>
          <a:lstStyle/>
          <a:p>
            <a:pPr algn="ctr" defTabSz="912813">
              <a:lnSpc>
                <a:spcPct val="90000"/>
              </a:lnSpc>
              <a:buClr>
                <a:srgbClr val="7D0900"/>
              </a:buClr>
              <a:defRPr/>
            </a:pPr>
            <a:r>
              <a:rPr lang="cs-CZ" sz="1400" b="1" dirty="0" smtClean="0">
                <a:solidFill>
                  <a:schemeClr val="bg1"/>
                </a:solidFill>
                <a:latin typeface="Arial"/>
                <a:cs typeface="Arial"/>
              </a:rPr>
              <a:t>Zvýšení výnosnosti inovací</a:t>
            </a:r>
            <a:endParaRPr lang="cs-CZ" sz="1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09" name="Pentagon 108"/>
          <p:cNvSpPr/>
          <p:nvPr>
            <p:custDataLst>
              <p:tags r:id="rId29"/>
            </p:custDataLst>
          </p:nvPr>
        </p:nvSpPr>
        <p:spPr bwMode="gray">
          <a:xfrm rot="16200000">
            <a:off x="5246369" y="2695576"/>
            <a:ext cx="615950" cy="6683374"/>
          </a:xfrm>
          <a:prstGeom prst="homePlate">
            <a:avLst>
              <a:gd name="adj" fmla="val 29440"/>
            </a:avLst>
          </a:prstGeom>
          <a:solidFill>
            <a:schemeClr val="accent3"/>
          </a:solidFill>
          <a:ln w="6350" cap="rnd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l">
              <a:spcBef>
                <a:spcPts val="900"/>
              </a:spcBef>
              <a:buClr>
                <a:srgbClr val="7D0900"/>
              </a:buClr>
              <a:defRPr/>
            </a:pPr>
            <a:endParaRPr lang="en-US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062" name="TextBox 109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3516136" y="5865945"/>
            <a:ext cx="4076437" cy="418576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12813">
              <a:lnSpc>
                <a:spcPct val="85000"/>
              </a:lnSpc>
              <a:buClr>
                <a:srgbClr val="7D0900"/>
              </a:buClr>
              <a:defRPr/>
            </a:pPr>
            <a:r>
              <a:rPr lang="cs-CZ" sz="1600" b="1" dirty="0" smtClean="0">
                <a:solidFill>
                  <a:schemeClr val="bg1"/>
                </a:solidFill>
                <a:latin typeface="Arial"/>
                <a:cs typeface="+mn-cs"/>
              </a:rPr>
              <a:t>Vytvoření základny pro inovace</a:t>
            </a:r>
            <a:br>
              <a:rPr lang="cs-CZ" sz="1600" b="1" dirty="0" smtClean="0">
                <a:solidFill>
                  <a:schemeClr val="bg1"/>
                </a:solidFill>
                <a:latin typeface="Arial"/>
                <a:cs typeface="+mn-cs"/>
              </a:rPr>
            </a:br>
            <a:r>
              <a:rPr lang="cs-CZ" sz="1600" b="1" dirty="0" smtClean="0">
                <a:solidFill>
                  <a:schemeClr val="bg1"/>
                </a:solidFill>
                <a:latin typeface="Arial"/>
                <a:cs typeface="+mn-cs"/>
              </a:rPr>
              <a:t> </a:t>
            </a:r>
            <a:r>
              <a:rPr lang="cs-CZ" sz="1600" dirty="0" smtClean="0">
                <a:solidFill>
                  <a:schemeClr val="bg1"/>
                </a:solidFill>
                <a:latin typeface="Arial"/>
                <a:cs typeface="+mn-cs"/>
              </a:rPr>
              <a:t>(př. organizace, kultura, procesy a nástroje)</a:t>
            </a:r>
            <a:endParaRPr lang="cs-CZ" sz="1600" i="1" dirty="0">
              <a:solidFill>
                <a:schemeClr val="bg1"/>
              </a:solidFill>
              <a:latin typeface="Arial"/>
              <a:cs typeface="+mn-cs"/>
            </a:endParaRPr>
          </a:p>
        </p:txBody>
      </p:sp>
      <p:sp>
        <p:nvSpPr>
          <p:cNvPr id="10289" name="Rectangle 3"/>
          <p:cNvSpPr>
            <a:spLocks noGrp="1" noChangeArrowheads="1"/>
          </p:cNvSpPr>
          <p:nvPr>
            <p:ph type="title"/>
            <p:custDataLst>
              <p:tags r:id="rId31"/>
            </p:custDataLst>
          </p:nvPr>
        </p:nvSpPr>
        <p:spPr bwMode="gray">
          <a:xfrm>
            <a:off x="244800" y="804672"/>
            <a:ext cx="8640000" cy="664797"/>
          </a:xfrm>
        </p:spPr>
        <p:txBody>
          <a:bodyPr/>
          <a:lstStyle/>
          <a:p>
            <a:pPr eaLnBrk="1" hangingPunct="1"/>
            <a:r>
              <a:rPr lang="cs-CZ" dirty="0" smtClean="0">
                <a:latin typeface="Arial" charset="0"/>
                <a:cs typeface="Arial" charset="0"/>
              </a:rPr>
              <a:t>Přední inovátoři </a:t>
            </a:r>
            <a:r>
              <a:rPr lang="cs-CZ" dirty="0" smtClean="0">
                <a:latin typeface="Arial" charset="0"/>
                <a:cs typeface="Arial" charset="0"/>
              </a:rPr>
              <a:t>navíc systematicky </a:t>
            </a:r>
            <a:r>
              <a:rPr lang="cs-CZ" dirty="0" smtClean="0">
                <a:latin typeface="Arial" charset="0"/>
                <a:cs typeface="Arial" charset="0"/>
              </a:rPr>
              <a:t>adresují všechny oblasti napříč životním cyklem inovace</a:t>
            </a:r>
          </a:p>
        </p:txBody>
      </p:sp>
      <p:sp>
        <p:nvSpPr>
          <p:cNvPr id="101" name="Right Arrow 100"/>
          <p:cNvSpPr/>
          <p:nvPr>
            <p:custDataLst>
              <p:tags r:id="rId32"/>
            </p:custDataLst>
          </p:nvPr>
        </p:nvSpPr>
        <p:spPr bwMode="gray">
          <a:xfrm>
            <a:off x="354013" y="2133600"/>
            <a:ext cx="1568450" cy="4211638"/>
          </a:xfrm>
          <a:prstGeom prst="rightArrow">
            <a:avLst>
              <a:gd name="adj1" fmla="val 100000"/>
              <a:gd name="adj2" fmla="val 24182"/>
            </a:avLst>
          </a:prstGeom>
          <a:solidFill>
            <a:schemeClr val="accent3"/>
          </a:solidFill>
          <a:ln w="6350" cap="rnd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t"/>
          <a:lstStyle/>
          <a:p>
            <a:pPr>
              <a:buClr>
                <a:srgbClr val="7D0900"/>
              </a:buClr>
              <a:defRPr/>
            </a:pPr>
            <a:r>
              <a:rPr lang="cs-CZ" sz="1600" b="1" dirty="0" smtClean="0">
                <a:solidFill>
                  <a:schemeClr val="bg1"/>
                </a:solidFill>
              </a:rPr>
              <a:t>Definování správné inovační strategie</a:t>
            </a:r>
            <a:endParaRPr lang="cs-CZ" sz="1600" b="1" dirty="0">
              <a:solidFill>
                <a:schemeClr val="bg1"/>
              </a:solidFill>
            </a:endParaRPr>
          </a:p>
        </p:txBody>
      </p:sp>
      <p:grpSp>
        <p:nvGrpSpPr>
          <p:cNvPr id="10297" name="Group 40"/>
          <p:cNvGrpSpPr>
            <a:grpSpLocks/>
          </p:cNvGrpSpPr>
          <p:nvPr/>
        </p:nvGrpSpPr>
        <p:grpSpPr bwMode="auto">
          <a:xfrm rot="5400000">
            <a:off x="543531" y="3650626"/>
            <a:ext cx="1263752" cy="1179277"/>
            <a:chOff x="2881313" y="1544638"/>
            <a:chExt cx="2316162" cy="1000125"/>
          </a:xfrm>
        </p:grpSpPr>
        <p:sp>
          <p:nvSpPr>
            <p:cNvPr id="97" name="Freeform 25"/>
            <p:cNvSpPr>
              <a:spLocks/>
            </p:cNvSpPr>
            <p:nvPr/>
          </p:nvSpPr>
          <p:spPr bwMode="gray">
            <a:xfrm>
              <a:off x="2881421" y="1544423"/>
              <a:ext cx="2315803" cy="1000324"/>
            </a:xfrm>
            <a:custGeom>
              <a:avLst/>
              <a:gdLst/>
              <a:ahLst/>
              <a:cxnLst>
                <a:cxn ang="0">
                  <a:pos x="2795" y="2246"/>
                </a:cxn>
                <a:cxn ang="0">
                  <a:pos x="2978" y="2342"/>
                </a:cxn>
                <a:cxn ang="0">
                  <a:pos x="3188" y="2420"/>
                </a:cxn>
                <a:cxn ang="0">
                  <a:pos x="3427" y="2479"/>
                </a:cxn>
                <a:cxn ang="0">
                  <a:pos x="3699" y="2513"/>
                </a:cxn>
                <a:cxn ang="0">
                  <a:pos x="5387" y="2522"/>
                </a:cxn>
                <a:cxn ang="0">
                  <a:pos x="4249" y="1231"/>
                </a:cxn>
                <a:cxn ang="0">
                  <a:pos x="4220" y="1231"/>
                </a:cxn>
                <a:cxn ang="0">
                  <a:pos x="4173" y="1232"/>
                </a:cxn>
                <a:cxn ang="0">
                  <a:pos x="4110" y="1233"/>
                </a:cxn>
                <a:cxn ang="0">
                  <a:pos x="3986" y="1235"/>
                </a:cxn>
                <a:cxn ang="0">
                  <a:pos x="3829" y="1235"/>
                </a:cxn>
                <a:cxn ang="0">
                  <a:pos x="3739" y="1235"/>
                </a:cxn>
                <a:cxn ang="0">
                  <a:pos x="3686" y="1233"/>
                </a:cxn>
                <a:cxn ang="0">
                  <a:pos x="3649" y="1231"/>
                </a:cxn>
                <a:cxn ang="0">
                  <a:pos x="3586" y="1220"/>
                </a:cxn>
                <a:cxn ang="0">
                  <a:pos x="3508" y="1189"/>
                </a:cxn>
                <a:cxn ang="0">
                  <a:pos x="3429" y="1135"/>
                </a:cxn>
                <a:cxn ang="0">
                  <a:pos x="3363" y="1052"/>
                </a:cxn>
                <a:cxn ang="0">
                  <a:pos x="3330" y="957"/>
                </a:cxn>
                <a:cxn ang="0">
                  <a:pos x="3323" y="887"/>
                </a:cxn>
                <a:cxn ang="0">
                  <a:pos x="2693" y="0"/>
                </a:cxn>
                <a:cxn ang="0">
                  <a:pos x="2053" y="905"/>
                </a:cxn>
                <a:cxn ang="0">
                  <a:pos x="2044" y="973"/>
                </a:cxn>
                <a:cxn ang="0">
                  <a:pos x="1999" y="1081"/>
                </a:cxn>
                <a:cxn ang="0">
                  <a:pos x="1930" y="1154"/>
                </a:cxn>
                <a:cxn ang="0">
                  <a:pos x="1851" y="1201"/>
                </a:cxn>
                <a:cxn ang="0">
                  <a:pos x="1776" y="1225"/>
                </a:cxn>
                <a:cxn ang="0">
                  <a:pos x="1726" y="1232"/>
                </a:cxn>
                <a:cxn ang="0">
                  <a:pos x="1684" y="1233"/>
                </a:cxn>
                <a:cxn ang="0">
                  <a:pos x="1626" y="1235"/>
                </a:cxn>
                <a:cxn ang="0">
                  <a:pos x="1505" y="1235"/>
                </a:cxn>
                <a:cxn ang="0">
                  <a:pos x="1349" y="1233"/>
                </a:cxn>
                <a:cxn ang="0">
                  <a:pos x="1255" y="1232"/>
                </a:cxn>
                <a:cxn ang="0">
                  <a:pos x="1196" y="1232"/>
                </a:cxn>
                <a:cxn ang="0">
                  <a:pos x="1155" y="1231"/>
                </a:cxn>
                <a:cxn ang="0">
                  <a:pos x="1134" y="1231"/>
                </a:cxn>
                <a:cxn ang="0">
                  <a:pos x="1487" y="2522"/>
                </a:cxn>
                <a:cxn ang="0">
                  <a:pos x="1777" y="2504"/>
                </a:cxn>
                <a:cxn ang="0">
                  <a:pos x="2035" y="2461"/>
                </a:cxn>
                <a:cxn ang="0">
                  <a:pos x="2264" y="2395"/>
                </a:cxn>
                <a:cxn ang="0">
                  <a:pos x="2464" y="2310"/>
                </a:cxn>
                <a:cxn ang="0">
                  <a:pos x="2636" y="2210"/>
                </a:cxn>
              </a:cxnLst>
              <a:rect l="0" t="0" r="r" b="b"/>
              <a:pathLst>
                <a:path w="5387" h="2522">
                  <a:moveTo>
                    <a:pt x="2688" y="2173"/>
                  </a:moveTo>
                  <a:lnTo>
                    <a:pt x="2740" y="2211"/>
                  </a:lnTo>
                  <a:lnTo>
                    <a:pt x="2795" y="2246"/>
                  </a:lnTo>
                  <a:lnTo>
                    <a:pt x="2853" y="2280"/>
                  </a:lnTo>
                  <a:lnTo>
                    <a:pt x="2913" y="2312"/>
                  </a:lnTo>
                  <a:lnTo>
                    <a:pt x="2978" y="2342"/>
                  </a:lnTo>
                  <a:lnTo>
                    <a:pt x="3045" y="2370"/>
                  </a:lnTo>
                  <a:lnTo>
                    <a:pt x="3115" y="2396"/>
                  </a:lnTo>
                  <a:lnTo>
                    <a:pt x="3188" y="2420"/>
                  </a:lnTo>
                  <a:lnTo>
                    <a:pt x="3264" y="2442"/>
                  </a:lnTo>
                  <a:lnTo>
                    <a:pt x="3345" y="2462"/>
                  </a:lnTo>
                  <a:lnTo>
                    <a:pt x="3427" y="2479"/>
                  </a:lnTo>
                  <a:lnTo>
                    <a:pt x="3515" y="2493"/>
                  </a:lnTo>
                  <a:lnTo>
                    <a:pt x="3605" y="2505"/>
                  </a:lnTo>
                  <a:lnTo>
                    <a:pt x="3699" y="2513"/>
                  </a:lnTo>
                  <a:lnTo>
                    <a:pt x="3797" y="2520"/>
                  </a:lnTo>
                  <a:lnTo>
                    <a:pt x="3899" y="2522"/>
                  </a:lnTo>
                  <a:lnTo>
                    <a:pt x="5387" y="2522"/>
                  </a:lnTo>
                  <a:lnTo>
                    <a:pt x="4254" y="1231"/>
                  </a:lnTo>
                  <a:lnTo>
                    <a:pt x="4253" y="1231"/>
                  </a:lnTo>
                  <a:lnTo>
                    <a:pt x="4249" y="1231"/>
                  </a:lnTo>
                  <a:lnTo>
                    <a:pt x="4242" y="1231"/>
                  </a:lnTo>
                  <a:lnTo>
                    <a:pt x="4232" y="1231"/>
                  </a:lnTo>
                  <a:lnTo>
                    <a:pt x="4220" y="1231"/>
                  </a:lnTo>
                  <a:lnTo>
                    <a:pt x="4207" y="1232"/>
                  </a:lnTo>
                  <a:lnTo>
                    <a:pt x="4191" y="1232"/>
                  </a:lnTo>
                  <a:lnTo>
                    <a:pt x="4173" y="1232"/>
                  </a:lnTo>
                  <a:lnTo>
                    <a:pt x="4153" y="1232"/>
                  </a:lnTo>
                  <a:lnTo>
                    <a:pt x="4132" y="1232"/>
                  </a:lnTo>
                  <a:lnTo>
                    <a:pt x="4110" y="1233"/>
                  </a:lnTo>
                  <a:lnTo>
                    <a:pt x="4087" y="1233"/>
                  </a:lnTo>
                  <a:lnTo>
                    <a:pt x="4038" y="1233"/>
                  </a:lnTo>
                  <a:lnTo>
                    <a:pt x="3986" y="1235"/>
                  </a:lnTo>
                  <a:lnTo>
                    <a:pt x="3933" y="1235"/>
                  </a:lnTo>
                  <a:lnTo>
                    <a:pt x="3880" y="1235"/>
                  </a:lnTo>
                  <a:lnTo>
                    <a:pt x="3829" y="1235"/>
                  </a:lnTo>
                  <a:lnTo>
                    <a:pt x="3782" y="1235"/>
                  </a:lnTo>
                  <a:lnTo>
                    <a:pt x="3760" y="1235"/>
                  </a:lnTo>
                  <a:lnTo>
                    <a:pt x="3739" y="1235"/>
                  </a:lnTo>
                  <a:lnTo>
                    <a:pt x="3720" y="1233"/>
                  </a:lnTo>
                  <a:lnTo>
                    <a:pt x="3701" y="1233"/>
                  </a:lnTo>
                  <a:lnTo>
                    <a:pt x="3686" y="1233"/>
                  </a:lnTo>
                  <a:lnTo>
                    <a:pt x="3671" y="1232"/>
                  </a:lnTo>
                  <a:lnTo>
                    <a:pt x="3660" y="1232"/>
                  </a:lnTo>
                  <a:lnTo>
                    <a:pt x="3649" y="1231"/>
                  </a:lnTo>
                  <a:lnTo>
                    <a:pt x="3631" y="1229"/>
                  </a:lnTo>
                  <a:lnTo>
                    <a:pt x="3610" y="1225"/>
                  </a:lnTo>
                  <a:lnTo>
                    <a:pt x="3586" y="1220"/>
                  </a:lnTo>
                  <a:lnTo>
                    <a:pt x="3561" y="1212"/>
                  </a:lnTo>
                  <a:lnTo>
                    <a:pt x="3535" y="1202"/>
                  </a:lnTo>
                  <a:lnTo>
                    <a:pt x="3508" y="1189"/>
                  </a:lnTo>
                  <a:lnTo>
                    <a:pt x="3481" y="1173"/>
                  </a:lnTo>
                  <a:lnTo>
                    <a:pt x="3455" y="1156"/>
                  </a:lnTo>
                  <a:lnTo>
                    <a:pt x="3429" y="1135"/>
                  </a:lnTo>
                  <a:lnTo>
                    <a:pt x="3405" y="1111"/>
                  </a:lnTo>
                  <a:lnTo>
                    <a:pt x="3382" y="1083"/>
                  </a:lnTo>
                  <a:lnTo>
                    <a:pt x="3363" y="1052"/>
                  </a:lnTo>
                  <a:lnTo>
                    <a:pt x="3347" y="1017"/>
                  </a:lnTo>
                  <a:lnTo>
                    <a:pt x="3335" y="977"/>
                  </a:lnTo>
                  <a:lnTo>
                    <a:pt x="3330" y="957"/>
                  </a:lnTo>
                  <a:lnTo>
                    <a:pt x="3327" y="934"/>
                  </a:lnTo>
                  <a:lnTo>
                    <a:pt x="3324" y="912"/>
                  </a:lnTo>
                  <a:lnTo>
                    <a:pt x="3323" y="887"/>
                  </a:lnTo>
                  <a:lnTo>
                    <a:pt x="3323" y="880"/>
                  </a:lnTo>
                  <a:lnTo>
                    <a:pt x="3818" y="880"/>
                  </a:lnTo>
                  <a:lnTo>
                    <a:pt x="2693" y="0"/>
                  </a:lnTo>
                  <a:lnTo>
                    <a:pt x="1568" y="880"/>
                  </a:lnTo>
                  <a:lnTo>
                    <a:pt x="2055" y="880"/>
                  </a:lnTo>
                  <a:lnTo>
                    <a:pt x="2053" y="905"/>
                  </a:lnTo>
                  <a:lnTo>
                    <a:pt x="2052" y="929"/>
                  </a:lnTo>
                  <a:lnTo>
                    <a:pt x="2049" y="951"/>
                  </a:lnTo>
                  <a:lnTo>
                    <a:pt x="2044" y="973"/>
                  </a:lnTo>
                  <a:lnTo>
                    <a:pt x="2033" y="1013"/>
                  </a:lnTo>
                  <a:lnTo>
                    <a:pt x="2017" y="1049"/>
                  </a:lnTo>
                  <a:lnTo>
                    <a:pt x="1999" y="1081"/>
                  </a:lnTo>
                  <a:lnTo>
                    <a:pt x="1978" y="1109"/>
                  </a:lnTo>
                  <a:lnTo>
                    <a:pt x="1955" y="1134"/>
                  </a:lnTo>
                  <a:lnTo>
                    <a:pt x="1930" y="1154"/>
                  </a:lnTo>
                  <a:lnTo>
                    <a:pt x="1904" y="1173"/>
                  </a:lnTo>
                  <a:lnTo>
                    <a:pt x="1877" y="1188"/>
                  </a:lnTo>
                  <a:lnTo>
                    <a:pt x="1851" y="1201"/>
                  </a:lnTo>
                  <a:lnTo>
                    <a:pt x="1825" y="1211"/>
                  </a:lnTo>
                  <a:lnTo>
                    <a:pt x="1800" y="1219"/>
                  </a:lnTo>
                  <a:lnTo>
                    <a:pt x="1776" y="1225"/>
                  </a:lnTo>
                  <a:lnTo>
                    <a:pt x="1754" y="1229"/>
                  </a:lnTo>
                  <a:lnTo>
                    <a:pt x="1736" y="1231"/>
                  </a:lnTo>
                  <a:lnTo>
                    <a:pt x="1726" y="1232"/>
                  </a:lnTo>
                  <a:lnTo>
                    <a:pt x="1715" y="1232"/>
                  </a:lnTo>
                  <a:lnTo>
                    <a:pt x="1700" y="1233"/>
                  </a:lnTo>
                  <a:lnTo>
                    <a:pt x="1684" y="1233"/>
                  </a:lnTo>
                  <a:lnTo>
                    <a:pt x="1666" y="1233"/>
                  </a:lnTo>
                  <a:lnTo>
                    <a:pt x="1647" y="1235"/>
                  </a:lnTo>
                  <a:lnTo>
                    <a:pt x="1626" y="1235"/>
                  </a:lnTo>
                  <a:lnTo>
                    <a:pt x="1604" y="1235"/>
                  </a:lnTo>
                  <a:lnTo>
                    <a:pt x="1556" y="1235"/>
                  </a:lnTo>
                  <a:lnTo>
                    <a:pt x="1505" y="1235"/>
                  </a:lnTo>
                  <a:lnTo>
                    <a:pt x="1453" y="1235"/>
                  </a:lnTo>
                  <a:lnTo>
                    <a:pt x="1401" y="1235"/>
                  </a:lnTo>
                  <a:lnTo>
                    <a:pt x="1349" y="1233"/>
                  </a:lnTo>
                  <a:lnTo>
                    <a:pt x="1300" y="1233"/>
                  </a:lnTo>
                  <a:lnTo>
                    <a:pt x="1276" y="1233"/>
                  </a:lnTo>
                  <a:lnTo>
                    <a:pt x="1255" y="1232"/>
                  </a:lnTo>
                  <a:lnTo>
                    <a:pt x="1233" y="1232"/>
                  </a:lnTo>
                  <a:lnTo>
                    <a:pt x="1214" y="1232"/>
                  </a:lnTo>
                  <a:lnTo>
                    <a:pt x="1196" y="1232"/>
                  </a:lnTo>
                  <a:lnTo>
                    <a:pt x="1180" y="1232"/>
                  </a:lnTo>
                  <a:lnTo>
                    <a:pt x="1167" y="1231"/>
                  </a:lnTo>
                  <a:lnTo>
                    <a:pt x="1155" y="1231"/>
                  </a:lnTo>
                  <a:lnTo>
                    <a:pt x="1145" y="1231"/>
                  </a:lnTo>
                  <a:lnTo>
                    <a:pt x="1138" y="1231"/>
                  </a:lnTo>
                  <a:lnTo>
                    <a:pt x="1134" y="1231"/>
                  </a:lnTo>
                  <a:lnTo>
                    <a:pt x="1133" y="1231"/>
                  </a:lnTo>
                  <a:lnTo>
                    <a:pt x="0" y="2522"/>
                  </a:lnTo>
                  <a:lnTo>
                    <a:pt x="1487" y="2522"/>
                  </a:lnTo>
                  <a:lnTo>
                    <a:pt x="1588" y="2520"/>
                  </a:lnTo>
                  <a:lnTo>
                    <a:pt x="1684" y="2513"/>
                  </a:lnTo>
                  <a:lnTo>
                    <a:pt x="1777" y="2504"/>
                  </a:lnTo>
                  <a:lnTo>
                    <a:pt x="1868" y="2493"/>
                  </a:lnTo>
                  <a:lnTo>
                    <a:pt x="1954" y="2478"/>
                  </a:lnTo>
                  <a:lnTo>
                    <a:pt x="2035" y="2461"/>
                  </a:lnTo>
                  <a:lnTo>
                    <a:pt x="2115" y="2442"/>
                  </a:lnTo>
                  <a:lnTo>
                    <a:pt x="2192" y="2419"/>
                  </a:lnTo>
                  <a:lnTo>
                    <a:pt x="2264" y="2395"/>
                  </a:lnTo>
                  <a:lnTo>
                    <a:pt x="2333" y="2369"/>
                  </a:lnTo>
                  <a:lnTo>
                    <a:pt x="2400" y="2341"/>
                  </a:lnTo>
                  <a:lnTo>
                    <a:pt x="2464" y="2310"/>
                  </a:lnTo>
                  <a:lnTo>
                    <a:pt x="2524" y="2279"/>
                  </a:lnTo>
                  <a:lnTo>
                    <a:pt x="2581" y="2245"/>
                  </a:lnTo>
                  <a:lnTo>
                    <a:pt x="2636" y="2210"/>
                  </a:lnTo>
                  <a:lnTo>
                    <a:pt x="2688" y="2173"/>
                  </a:lnTo>
                  <a:lnTo>
                    <a:pt x="2688" y="2173"/>
                  </a:lnTo>
                  <a:close/>
                </a:path>
              </a:pathLst>
            </a:custGeom>
            <a:solidFill>
              <a:schemeClr val="bg2"/>
            </a:solidFill>
            <a:ln w="635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6350" cap="rnd" cmpd="sng">
                  <a:solidFill>
                    <a:srgbClr val="ADABA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pPr algn="l">
                <a:defRPr/>
              </a:pPr>
              <a:endParaRPr lang="fr-FR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100" name="Freeform 28"/>
            <p:cNvSpPr>
              <a:spLocks/>
            </p:cNvSpPr>
            <p:nvPr/>
          </p:nvSpPr>
          <p:spPr bwMode="gray">
            <a:xfrm>
              <a:off x="2881421" y="1544423"/>
              <a:ext cx="1641469" cy="1000324"/>
            </a:xfrm>
            <a:custGeom>
              <a:avLst/>
              <a:gdLst>
                <a:gd name="T0" fmla="*/ 350 w 3818"/>
                <a:gd name="T1" fmla="*/ 309 h 2522"/>
                <a:gd name="T2" fmla="*/ 421 w 3818"/>
                <a:gd name="T3" fmla="*/ 308 h 2522"/>
                <a:gd name="T4" fmla="*/ 434 w 3818"/>
                <a:gd name="T5" fmla="*/ 308 h 2522"/>
                <a:gd name="T6" fmla="*/ 439 w 3818"/>
                <a:gd name="T7" fmla="*/ 307 h 2522"/>
                <a:gd name="T8" fmla="*/ 444 w 3818"/>
                <a:gd name="T9" fmla="*/ 306 h 2522"/>
                <a:gd name="T10" fmla="*/ 450 w 3818"/>
                <a:gd name="T11" fmla="*/ 305 h 2522"/>
                <a:gd name="T12" fmla="*/ 457 w 3818"/>
                <a:gd name="T13" fmla="*/ 303 h 2522"/>
                <a:gd name="T14" fmla="*/ 463 w 3818"/>
                <a:gd name="T15" fmla="*/ 300 h 2522"/>
                <a:gd name="T16" fmla="*/ 470 w 3818"/>
                <a:gd name="T17" fmla="*/ 297 h 2522"/>
                <a:gd name="T18" fmla="*/ 477 w 3818"/>
                <a:gd name="T19" fmla="*/ 293 h 2522"/>
                <a:gd name="T20" fmla="*/ 484 w 3818"/>
                <a:gd name="T21" fmla="*/ 289 h 2522"/>
                <a:gd name="T22" fmla="*/ 490 w 3818"/>
                <a:gd name="T23" fmla="*/ 283 h 2522"/>
                <a:gd name="T24" fmla="*/ 496 w 3818"/>
                <a:gd name="T25" fmla="*/ 277 h 2522"/>
                <a:gd name="T26" fmla="*/ 502 w 3818"/>
                <a:gd name="T27" fmla="*/ 270 h 2522"/>
                <a:gd name="T28" fmla="*/ 505 w 3818"/>
                <a:gd name="T29" fmla="*/ 264 h 2522"/>
                <a:gd name="T30" fmla="*/ 508 w 3818"/>
                <a:gd name="T31" fmla="*/ 260 h 2522"/>
                <a:gd name="T32" fmla="*/ 509 w 3818"/>
                <a:gd name="T33" fmla="*/ 255 h 2522"/>
                <a:gd name="T34" fmla="*/ 511 w 3818"/>
                <a:gd name="T35" fmla="*/ 251 h 2522"/>
                <a:gd name="T36" fmla="*/ 513 w 3818"/>
                <a:gd name="T37" fmla="*/ 246 h 2522"/>
                <a:gd name="T38" fmla="*/ 514 w 3818"/>
                <a:gd name="T39" fmla="*/ 241 h 2522"/>
                <a:gd name="T40" fmla="*/ 515 w 3818"/>
                <a:gd name="T41" fmla="*/ 235 h 2522"/>
                <a:gd name="T42" fmla="*/ 516 w 3818"/>
                <a:gd name="T43" fmla="*/ 229 h 2522"/>
                <a:gd name="T44" fmla="*/ 516 w 3818"/>
                <a:gd name="T45" fmla="*/ 223 h 2522"/>
                <a:gd name="T46" fmla="*/ 392 w 3818"/>
                <a:gd name="T47" fmla="*/ 220 h 2522"/>
                <a:gd name="T48" fmla="*/ 955 w 3818"/>
                <a:gd name="T49" fmla="*/ 220 h 2522"/>
                <a:gd name="T50" fmla="*/ 831 w 3818"/>
                <a:gd name="T51" fmla="*/ 224 h 2522"/>
                <a:gd name="T52" fmla="*/ 831 w 3818"/>
                <a:gd name="T53" fmla="*/ 237 h 2522"/>
                <a:gd name="T54" fmla="*/ 829 w 3818"/>
                <a:gd name="T55" fmla="*/ 257 h 2522"/>
                <a:gd name="T56" fmla="*/ 825 w 3818"/>
                <a:gd name="T57" fmla="*/ 283 h 2522"/>
                <a:gd name="T58" fmla="*/ 821 w 3818"/>
                <a:gd name="T59" fmla="*/ 306 h 2522"/>
                <a:gd name="T60" fmla="*/ 817 w 3818"/>
                <a:gd name="T61" fmla="*/ 322 h 2522"/>
                <a:gd name="T62" fmla="*/ 812 w 3818"/>
                <a:gd name="T63" fmla="*/ 339 h 2522"/>
                <a:gd name="T64" fmla="*/ 806 w 3818"/>
                <a:gd name="T65" fmla="*/ 357 h 2522"/>
                <a:gd name="T66" fmla="*/ 799 w 3818"/>
                <a:gd name="T67" fmla="*/ 375 h 2522"/>
                <a:gd name="T68" fmla="*/ 792 w 3818"/>
                <a:gd name="T69" fmla="*/ 394 h 2522"/>
                <a:gd name="T70" fmla="*/ 782 w 3818"/>
                <a:gd name="T71" fmla="*/ 413 h 2522"/>
                <a:gd name="T72" fmla="*/ 772 w 3818"/>
                <a:gd name="T73" fmla="*/ 432 h 2522"/>
                <a:gd name="T74" fmla="*/ 760 w 3818"/>
                <a:gd name="T75" fmla="*/ 452 h 2522"/>
                <a:gd name="T76" fmla="*/ 746 w 3818"/>
                <a:gd name="T77" fmla="*/ 470 h 2522"/>
                <a:gd name="T78" fmla="*/ 731 w 3818"/>
                <a:gd name="T79" fmla="*/ 489 h 2522"/>
                <a:gd name="T80" fmla="*/ 715 w 3818"/>
                <a:gd name="T81" fmla="*/ 507 h 2522"/>
                <a:gd name="T82" fmla="*/ 696 w 3818"/>
                <a:gd name="T83" fmla="*/ 524 h 2522"/>
                <a:gd name="T84" fmla="*/ 681 w 3818"/>
                <a:gd name="T85" fmla="*/ 536 h 2522"/>
                <a:gd name="T86" fmla="*/ 670 w 3818"/>
                <a:gd name="T87" fmla="*/ 545 h 2522"/>
                <a:gd name="T88" fmla="*/ 659 w 3818"/>
                <a:gd name="T89" fmla="*/ 552 h 2522"/>
                <a:gd name="T90" fmla="*/ 647 w 3818"/>
                <a:gd name="T91" fmla="*/ 560 h 2522"/>
                <a:gd name="T92" fmla="*/ 635 w 3818"/>
                <a:gd name="T93" fmla="*/ 567 h 2522"/>
                <a:gd name="T94" fmla="*/ 622 w 3818"/>
                <a:gd name="T95" fmla="*/ 574 h 2522"/>
                <a:gd name="T96" fmla="*/ 609 w 3818"/>
                <a:gd name="T97" fmla="*/ 581 h 2522"/>
                <a:gd name="T98" fmla="*/ 596 w 3818"/>
                <a:gd name="T99" fmla="*/ 587 h 2522"/>
                <a:gd name="T100" fmla="*/ 581 w 3818"/>
                <a:gd name="T101" fmla="*/ 593 h 2522"/>
                <a:gd name="T102" fmla="*/ 566 w 3818"/>
                <a:gd name="T103" fmla="*/ 599 h 2522"/>
                <a:gd name="T104" fmla="*/ 551 w 3818"/>
                <a:gd name="T105" fmla="*/ 604 h 2522"/>
                <a:gd name="T106" fmla="*/ 534 w 3818"/>
                <a:gd name="T107" fmla="*/ 609 h 2522"/>
                <a:gd name="T108" fmla="*/ 518 w 3818"/>
                <a:gd name="T109" fmla="*/ 613 h 2522"/>
                <a:gd name="T110" fmla="*/ 500 w 3818"/>
                <a:gd name="T111" fmla="*/ 617 h 2522"/>
                <a:gd name="T112" fmla="*/ 483 w 3818"/>
                <a:gd name="T113" fmla="*/ 620 h 2522"/>
                <a:gd name="T114" fmla="*/ 464 w 3818"/>
                <a:gd name="T115" fmla="*/ 623 h 2522"/>
                <a:gd name="T116" fmla="*/ 444 w 3818"/>
                <a:gd name="T117" fmla="*/ 626 h 2522"/>
                <a:gd name="T118" fmla="*/ 425 w 3818"/>
                <a:gd name="T119" fmla="*/ 628 h 2522"/>
                <a:gd name="T120" fmla="*/ 393 w 3818"/>
                <a:gd name="T121" fmla="*/ 630 h 2522"/>
                <a:gd name="T122" fmla="*/ 0 w 3818"/>
                <a:gd name="T123" fmla="*/ 630 h 25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818"/>
                <a:gd name="T187" fmla="*/ 0 h 2522"/>
                <a:gd name="T188" fmla="*/ 3818 w 3818"/>
                <a:gd name="T189" fmla="*/ 2522 h 25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818" h="2522">
                  <a:moveTo>
                    <a:pt x="1133" y="1231"/>
                  </a:moveTo>
                  <a:lnTo>
                    <a:pt x="1400" y="1235"/>
                  </a:lnTo>
                  <a:lnTo>
                    <a:pt x="1604" y="1235"/>
                  </a:lnTo>
                  <a:lnTo>
                    <a:pt x="1684" y="1233"/>
                  </a:lnTo>
                  <a:lnTo>
                    <a:pt x="1715" y="1232"/>
                  </a:lnTo>
                  <a:lnTo>
                    <a:pt x="1736" y="1231"/>
                  </a:lnTo>
                  <a:lnTo>
                    <a:pt x="1745" y="1230"/>
                  </a:lnTo>
                  <a:lnTo>
                    <a:pt x="1754" y="1229"/>
                  </a:lnTo>
                  <a:lnTo>
                    <a:pt x="1765" y="1228"/>
                  </a:lnTo>
                  <a:lnTo>
                    <a:pt x="1776" y="1225"/>
                  </a:lnTo>
                  <a:lnTo>
                    <a:pt x="1787" y="1222"/>
                  </a:lnTo>
                  <a:lnTo>
                    <a:pt x="1800" y="1220"/>
                  </a:lnTo>
                  <a:lnTo>
                    <a:pt x="1812" y="1215"/>
                  </a:lnTo>
                  <a:lnTo>
                    <a:pt x="1826" y="1212"/>
                  </a:lnTo>
                  <a:lnTo>
                    <a:pt x="1838" y="1206"/>
                  </a:lnTo>
                  <a:lnTo>
                    <a:pt x="1852" y="1202"/>
                  </a:lnTo>
                  <a:lnTo>
                    <a:pt x="1865" y="1195"/>
                  </a:lnTo>
                  <a:lnTo>
                    <a:pt x="1879" y="1188"/>
                  </a:lnTo>
                  <a:lnTo>
                    <a:pt x="1893" y="1181"/>
                  </a:lnTo>
                  <a:lnTo>
                    <a:pt x="1906" y="1173"/>
                  </a:lnTo>
                  <a:lnTo>
                    <a:pt x="1920" y="1164"/>
                  </a:lnTo>
                  <a:lnTo>
                    <a:pt x="1933" y="1155"/>
                  </a:lnTo>
                  <a:lnTo>
                    <a:pt x="1946" y="1144"/>
                  </a:lnTo>
                  <a:lnTo>
                    <a:pt x="1959" y="1134"/>
                  </a:lnTo>
                  <a:lnTo>
                    <a:pt x="1971" y="1121"/>
                  </a:lnTo>
                  <a:lnTo>
                    <a:pt x="1983" y="1109"/>
                  </a:lnTo>
                  <a:lnTo>
                    <a:pt x="1995" y="1095"/>
                  </a:lnTo>
                  <a:lnTo>
                    <a:pt x="2005" y="1081"/>
                  </a:lnTo>
                  <a:lnTo>
                    <a:pt x="2015" y="1065"/>
                  </a:lnTo>
                  <a:lnTo>
                    <a:pt x="2020" y="1057"/>
                  </a:lnTo>
                  <a:lnTo>
                    <a:pt x="2024" y="1049"/>
                  </a:lnTo>
                  <a:lnTo>
                    <a:pt x="2029" y="1040"/>
                  </a:lnTo>
                  <a:lnTo>
                    <a:pt x="2033" y="1031"/>
                  </a:lnTo>
                  <a:lnTo>
                    <a:pt x="2036" y="1022"/>
                  </a:lnTo>
                  <a:lnTo>
                    <a:pt x="2040" y="1013"/>
                  </a:lnTo>
                  <a:lnTo>
                    <a:pt x="2043" y="1003"/>
                  </a:lnTo>
                  <a:lnTo>
                    <a:pt x="2047" y="993"/>
                  </a:lnTo>
                  <a:lnTo>
                    <a:pt x="2049" y="983"/>
                  </a:lnTo>
                  <a:lnTo>
                    <a:pt x="2052" y="973"/>
                  </a:lnTo>
                  <a:lnTo>
                    <a:pt x="2055" y="963"/>
                  </a:lnTo>
                  <a:lnTo>
                    <a:pt x="2057" y="951"/>
                  </a:lnTo>
                  <a:lnTo>
                    <a:pt x="2058" y="940"/>
                  </a:lnTo>
                  <a:lnTo>
                    <a:pt x="2059" y="929"/>
                  </a:lnTo>
                  <a:lnTo>
                    <a:pt x="2061" y="917"/>
                  </a:lnTo>
                  <a:lnTo>
                    <a:pt x="2061" y="905"/>
                  </a:lnTo>
                  <a:lnTo>
                    <a:pt x="2063" y="893"/>
                  </a:lnTo>
                  <a:lnTo>
                    <a:pt x="2063" y="880"/>
                  </a:lnTo>
                  <a:lnTo>
                    <a:pt x="1568" y="880"/>
                  </a:lnTo>
                  <a:lnTo>
                    <a:pt x="2693" y="0"/>
                  </a:lnTo>
                  <a:lnTo>
                    <a:pt x="3818" y="880"/>
                  </a:lnTo>
                  <a:lnTo>
                    <a:pt x="3323" y="880"/>
                  </a:lnTo>
                  <a:lnTo>
                    <a:pt x="3323" y="898"/>
                  </a:lnTo>
                  <a:lnTo>
                    <a:pt x="3323" y="920"/>
                  </a:lnTo>
                  <a:lnTo>
                    <a:pt x="3321" y="950"/>
                  </a:lnTo>
                  <a:lnTo>
                    <a:pt x="3319" y="987"/>
                  </a:lnTo>
                  <a:lnTo>
                    <a:pt x="3314" y="1030"/>
                  </a:lnTo>
                  <a:lnTo>
                    <a:pt x="3308" y="1079"/>
                  </a:lnTo>
                  <a:lnTo>
                    <a:pt x="3299" y="1134"/>
                  </a:lnTo>
                  <a:lnTo>
                    <a:pt x="3289" y="1193"/>
                  </a:lnTo>
                  <a:lnTo>
                    <a:pt x="3282" y="1224"/>
                  </a:lnTo>
                  <a:lnTo>
                    <a:pt x="3274" y="1256"/>
                  </a:lnTo>
                  <a:lnTo>
                    <a:pt x="3267" y="1290"/>
                  </a:lnTo>
                  <a:lnTo>
                    <a:pt x="3257" y="1324"/>
                  </a:lnTo>
                  <a:lnTo>
                    <a:pt x="3247" y="1358"/>
                  </a:lnTo>
                  <a:lnTo>
                    <a:pt x="3236" y="1394"/>
                  </a:lnTo>
                  <a:lnTo>
                    <a:pt x="3224" y="1429"/>
                  </a:lnTo>
                  <a:lnTo>
                    <a:pt x="3211" y="1467"/>
                  </a:lnTo>
                  <a:lnTo>
                    <a:pt x="3196" y="1503"/>
                  </a:lnTo>
                  <a:lnTo>
                    <a:pt x="3182" y="1540"/>
                  </a:lnTo>
                  <a:lnTo>
                    <a:pt x="3165" y="1579"/>
                  </a:lnTo>
                  <a:lnTo>
                    <a:pt x="3146" y="1616"/>
                  </a:lnTo>
                  <a:lnTo>
                    <a:pt x="3128" y="1655"/>
                  </a:lnTo>
                  <a:lnTo>
                    <a:pt x="3108" y="1693"/>
                  </a:lnTo>
                  <a:lnTo>
                    <a:pt x="3085" y="1731"/>
                  </a:lnTo>
                  <a:lnTo>
                    <a:pt x="3063" y="1769"/>
                  </a:lnTo>
                  <a:lnTo>
                    <a:pt x="3038" y="1808"/>
                  </a:lnTo>
                  <a:lnTo>
                    <a:pt x="3012" y="1845"/>
                  </a:lnTo>
                  <a:lnTo>
                    <a:pt x="2983" y="1882"/>
                  </a:lnTo>
                  <a:lnTo>
                    <a:pt x="2955" y="1920"/>
                  </a:lnTo>
                  <a:lnTo>
                    <a:pt x="2923" y="1956"/>
                  </a:lnTo>
                  <a:lnTo>
                    <a:pt x="2891" y="1993"/>
                  </a:lnTo>
                  <a:lnTo>
                    <a:pt x="2857" y="2028"/>
                  </a:lnTo>
                  <a:lnTo>
                    <a:pt x="2820" y="2063"/>
                  </a:lnTo>
                  <a:lnTo>
                    <a:pt x="2783" y="2097"/>
                  </a:lnTo>
                  <a:lnTo>
                    <a:pt x="2742" y="2131"/>
                  </a:lnTo>
                  <a:lnTo>
                    <a:pt x="2722" y="2147"/>
                  </a:lnTo>
                  <a:lnTo>
                    <a:pt x="2701" y="2164"/>
                  </a:lnTo>
                  <a:lnTo>
                    <a:pt x="2680" y="2180"/>
                  </a:lnTo>
                  <a:lnTo>
                    <a:pt x="2657" y="2196"/>
                  </a:lnTo>
                  <a:lnTo>
                    <a:pt x="2635" y="2211"/>
                  </a:lnTo>
                  <a:lnTo>
                    <a:pt x="2612" y="2227"/>
                  </a:lnTo>
                  <a:lnTo>
                    <a:pt x="2588" y="2241"/>
                  </a:lnTo>
                  <a:lnTo>
                    <a:pt x="2564" y="2256"/>
                  </a:lnTo>
                  <a:lnTo>
                    <a:pt x="2539" y="2271"/>
                  </a:lnTo>
                  <a:lnTo>
                    <a:pt x="2514" y="2284"/>
                  </a:lnTo>
                  <a:lnTo>
                    <a:pt x="2488" y="2298"/>
                  </a:lnTo>
                  <a:lnTo>
                    <a:pt x="2462" y="2312"/>
                  </a:lnTo>
                  <a:lnTo>
                    <a:pt x="2435" y="2325"/>
                  </a:lnTo>
                  <a:lnTo>
                    <a:pt x="2408" y="2338"/>
                  </a:lnTo>
                  <a:lnTo>
                    <a:pt x="2381" y="2350"/>
                  </a:lnTo>
                  <a:lnTo>
                    <a:pt x="2351" y="2362"/>
                  </a:lnTo>
                  <a:lnTo>
                    <a:pt x="2323" y="2374"/>
                  </a:lnTo>
                  <a:lnTo>
                    <a:pt x="2294" y="2385"/>
                  </a:lnTo>
                  <a:lnTo>
                    <a:pt x="2263" y="2396"/>
                  </a:lnTo>
                  <a:lnTo>
                    <a:pt x="2232" y="2407"/>
                  </a:lnTo>
                  <a:lnTo>
                    <a:pt x="2201" y="2417"/>
                  </a:lnTo>
                  <a:lnTo>
                    <a:pt x="2169" y="2427"/>
                  </a:lnTo>
                  <a:lnTo>
                    <a:pt x="2136" y="2436"/>
                  </a:lnTo>
                  <a:lnTo>
                    <a:pt x="2103" y="2445"/>
                  </a:lnTo>
                  <a:lnTo>
                    <a:pt x="2069" y="2454"/>
                  </a:lnTo>
                  <a:lnTo>
                    <a:pt x="2035" y="2462"/>
                  </a:lnTo>
                  <a:lnTo>
                    <a:pt x="2000" y="2469"/>
                  </a:lnTo>
                  <a:lnTo>
                    <a:pt x="1965" y="2477"/>
                  </a:lnTo>
                  <a:lnTo>
                    <a:pt x="1929" y="2483"/>
                  </a:lnTo>
                  <a:lnTo>
                    <a:pt x="1892" y="2489"/>
                  </a:lnTo>
                  <a:lnTo>
                    <a:pt x="1854" y="2495"/>
                  </a:lnTo>
                  <a:lnTo>
                    <a:pt x="1817" y="2501"/>
                  </a:lnTo>
                  <a:lnTo>
                    <a:pt x="1777" y="2505"/>
                  </a:lnTo>
                  <a:lnTo>
                    <a:pt x="1737" y="2509"/>
                  </a:lnTo>
                  <a:lnTo>
                    <a:pt x="1698" y="2512"/>
                  </a:lnTo>
                  <a:lnTo>
                    <a:pt x="1657" y="2515"/>
                  </a:lnTo>
                  <a:lnTo>
                    <a:pt x="1573" y="2520"/>
                  </a:lnTo>
                  <a:lnTo>
                    <a:pt x="1487" y="2522"/>
                  </a:lnTo>
                  <a:lnTo>
                    <a:pt x="0" y="2522"/>
                  </a:lnTo>
                </a:path>
              </a:pathLst>
            </a:custGeom>
            <a:solidFill>
              <a:schemeClr val="bg2"/>
            </a:solidFill>
            <a:ln w="6350" cap="rnd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6350" cap="rnd">
                  <a:solidFill>
                    <a:srgbClr val="ADABA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>
                <a:defRPr/>
              </a:pPr>
              <a:endParaRPr lang="fr-FR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 29"/>
            <p:cNvSpPr>
              <a:spLocks/>
            </p:cNvSpPr>
            <p:nvPr/>
          </p:nvSpPr>
          <p:spPr bwMode="gray">
            <a:xfrm>
              <a:off x="3555754" y="1544423"/>
              <a:ext cx="1641469" cy="1000324"/>
            </a:xfrm>
            <a:custGeom>
              <a:avLst/>
              <a:gdLst>
                <a:gd name="T0" fmla="*/ 605 w 3819"/>
                <a:gd name="T1" fmla="*/ 309 h 2522"/>
                <a:gd name="T2" fmla="*/ 533 w 3819"/>
                <a:gd name="T3" fmla="*/ 308 h 2522"/>
                <a:gd name="T4" fmla="*/ 520 w 3819"/>
                <a:gd name="T5" fmla="*/ 308 h 2522"/>
                <a:gd name="T6" fmla="*/ 516 w 3819"/>
                <a:gd name="T7" fmla="*/ 307 h 2522"/>
                <a:gd name="T8" fmla="*/ 511 w 3819"/>
                <a:gd name="T9" fmla="*/ 306 h 2522"/>
                <a:gd name="T10" fmla="*/ 505 w 3819"/>
                <a:gd name="T11" fmla="*/ 305 h 2522"/>
                <a:gd name="T12" fmla="*/ 498 w 3819"/>
                <a:gd name="T13" fmla="*/ 303 h 2522"/>
                <a:gd name="T14" fmla="*/ 492 w 3819"/>
                <a:gd name="T15" fmla="*/ 300 h 2522"/>
                <a:gd name="T16" fmla="*/ 485 w 3819"/>
                <a:gd name="T17" fmla="*/ 297 h 2522"/>
                <a:gd name="T18" fmla="*/ 478 w 3819"/>
                <a:gd name="T19" fmla="*/ 293 h 2522"/>
                <a:gd name="T20" fmla="*/ 471 w 3819"/>
                <a:gd name="T21" fmla="*/ 289 h 2522"/>
                <a:gd name="T22" fmla="*/ 465 w 3819"/>
                <a:gd name="T23" fmla="*/ 283 h 2522"/>
                <a:gd name="T24" fmla="*/ 459 w 3819"/>
                <a:gd name="T25" fmla="*/ 277 h 2522"/>
                <a:gd name="T26" fmla="*/ 453 w 3819"/>
                <a:gd name="T27" fmla="*/ 270 h 2522"/>
                <a:gd name="T28" fmla="*/ 450 w 3819"/>
                <a:gd name="T29" fmla="*/ 264 h 2522"/>
                <a:gd name="T30" fmla="*/ 447 w 3819"/>
                <a:gd name="T31" fmla="*/ 260 h 2522"/>
                <a:gd name="T32" fmla="*/ 445 w 3819"/>
                <a:gd name="T33" fmla="*/ 255 h 2522"/>
                <a:gd name="T34" fmla="*/ 444 w 3819"/>
                <a:gd name="T35" fmla="*/ 251 h 2522"/>
                <a:gd name="T36" fmla="*/ 442 w 3819"/>
                <a:gd name="T37" fmla="*/ 246 h 2522"/>
                <a:gd name="T38" fmla="*/ 441 w 3819"/>
                <a:gd name="T39" fmla="*/ 241 h 2522"/>
                <a:gd name="T40" fmla="*/ 440 w 3819"/>
                <a:gd name="T41" fmla="*/ 235 h 2522"/>
                <a:gd name="T42" fmla="*/ 439 w 3819"/>
                <a:gd name="T43" fmla="*/ 229 h 2522"/>
                <a:gd name="T44" fmla="*/ 439 w 3819"/>
                <a:gd name="T45" fmla="*/ 223 h 2522"/>
                <a:gd name="T46" fmla="*/ 563 w 3819"/>
                <a:gd name="T47" fmla="*/ 220 h 2522"/>
                <a:gd name="T48" fmla="*/ 0 w 3819"/>
                <a:gd name="T49" fmla="*/ 220 h 2522"/>
                <a:gd name="T50" fmla="*/ 124 w 3819"/>
                <a:gd name="T51" fmla="*/ 224 h 2522"/>
                <a:gd name="T52" fmla="*/ 124 w 3819"/>
                <a:gd name="T53" fmla="*/ 237 h 2522"/>
                <a:gd name="T54" fmla="*/ 126 w 3819"/>
                <a:gd name="T55" fmla="*/ 257 h 2522"/>
                <a:gd name="T56" fmla="*/ 130 w 3819"/>
                <a:gd name="T57" fmla="*/ 283 h 2522"/>
                <a:gd name="T58" fmla="*/ 134 w 3819"/>
                <a:gd name="T59" fmla="*/ 306 h 2522"/>
                <a:gd name="T60" fmla="*/ 138 w 3819"/>
                <a:gd name="T61" fmla="*/ 322 h 2522"/>
                <a:gd name="T62" fmla="*/ 143 w 3819"/>
                <a:gd name="T63" fmla="*/ 339 h 2522"/>
                <a:gd name="T64" fmla="*/ 149 w 3819"/>
                <a:gd name="T65" fmla="*/ 357 h 2522"/>
                <a:gd name="T66" fmla="*/ 155 w 3819"/>
                <a:gd name="T67" fmla="*/ 375 h 2522"/>
                <a:gd name="T68" fmla="*/ 163 w 3819"/>
                <a:gd name="T69" fmla="*/ 394 h 2522"/>
                <a:gd name="T70" fmla="*/ 173 w 3819"/>
                <a:gd name="T71" fmla="*/ 413 h 2522"/>
                <a:gd name="T72" fmla="*/ 183 w 3819"/>
                <a:gd name="T73" fmla="*/ 432 h 2522"/>
                <a:gd name="T74" fmla="*/ 195 w 3819"/>
                <a:gd name="T75" fmla="*/ 452 h 2522"/>
                <a:gd name="T76" fmla="*/ 209 w 3819"/>
                <a:gd name="T77" fmla="*/ 470 h 2522"/>
                <a:gd name="T78" fmla="*/ 224 w 3819"/>
                <a:gd name="T79" fmla="*/ 489 h 2522"/>
                <a:gd name="T80" fmla="*/ 240 w 3819"/>
                <a:gd name="T81" fmla="*/ 507 h 2522"/>
                <a:gd name="T82" fmla="*/ 259 w 3819"/>
                <a:gd name="T83" fmla="*/ 524 h 2522"/>
                <a:gd name="T84" fmla="*/ 274 w 3819"/>
                <a:gd name="T85" fmla="*/ 536 h 2522"/>
                <a:gd name="T86" fmla="*/ 285 w 3819"/>
                <a:gd name="T87" fmla="*/ 545 h 2522"/>
                <a:gd name="T88" fmla="*/ 296 w 3819"/>
                <a:gd name="T89" fmla="*/ 552 h 2522"/>
                <a:gd name="T90" fmla="*/ 308 w 3819"/>
                <a:gd name="T91" fmla="*/ 560 h 2522"/>
                <a:gd name="T92" fmla="*/ 320 w 3819"/>
                <a:gd name="T93" fmla="*/ 567 h 2522"/>
                <a:gd name="T94" fmla="*/ 332 w 3819"/>
                <a:gd name="T95" fmla="*/ 574 h 2522"/>
                <a:gd name="T96" fmla="*/ 346 w 3819"/>
                <a:gd name="T97" fmla="*/ 581 h 2522"/>
                <a:gd name="T98" fmla="*/ 360 w 3819"/>
                <a:gd name="T99" fmla="*/ 587 h 2522"/>
                <a:gd name="T100" fmla="*/ 374 w 3819"/>
                <a:gd name="T101" fmla="*/ 593 h 2522"/>
                <a:gd name="T102" fmla="*/ 389 w 3819"/>
                <a:gd name="T103" fmla="*/ 599 h 2522"/>
                <a:gd name="T104" fmla="*/ 404 w 3819"/>
                <a:gd name="T105" fmla="*/ 604 h 2522"/>
                <a:gd name="T106" fmla="*/ 421 w 3819"/>
                <a:gd name="T107" fmla="*/ 609 h 2522"/>
                <a:gd name="T108" fmla="*/ 437 w 3819"/>
                <a:gd name="T109" fmla="*/ 613 h 2522"/>
                <a:gd name="T110" fmla="*/ 454 w 3819"/>
                <a:gd name="T111" fmla="*/ 617 h 2522"/>
                <a:gd name="T112" fmla="*/ 472 w 3819"/>
                <a:gd name="T113" fmla="*/ 620 h 2522"/>
                <a:gd name="T114" fmla="*/ 491 w 3819"/>
                <a:gd name="T115" fmla="*/ 623 h 2522"/>
                <a:gd name="T116" fmla="*/ 510 w 3819"/>
                <a:gd name="T117" fmla="*/ 626 h 2522"/>
                <a:gd name="T118" fmla="*/ 530 w 3819"/>
                <a:gd name="T119" fmla="*/ 628 h 2522"/>
                <a:gd name="T120" fmla="*/ 561 w 3819"/>
                <a:gd name="T121" fmla="*/ 630 h 2522"/>
                <a:gd name="T122" fmla="*/ 955 w 3819"/>
                <a:gd name="T123" fmla="*/ 630 h 25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819"/>
                <a:gd name="T187" fmla="*/ 0 h 2522"/>
                <a:gd name="T188" fmla="*/ 3819 w 3819"/>
                <a:gd name="T189" fmla="*/ 2522 h 25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819" h="2522">
                  <a:moveTo>
                    <a:pt x="2686" y="1231"/>
                  </a:moveTo>
                  <a:lnTo>
                    <a:pt x="2418" y="1235"/>
                  </a:lnTo>
                  <a:lnTo>
                    <a:pt x="2214" y="1235"/>
                  </a:lnTo>
                  <a:lnTo>
                    <a:pt x="2133" y="1233"/>
                  </a:lnTo>
                  <a:lnTo>
                    <a:pt x="2103" y="1232"/>
                  </a:lnTo>
                  <a:lnTo>
                    <a:pt x="2081" y="1231"/>
                  </a:lnTo>
                  <a:lnTo>
                    <a:pt x="2072" y="1230"/>
                  </a:lnTo>
                  <a:lnTo>
                    <a:pt x="2063" y="1229"/>
                  </a:lnTo>
                  <a:lnTo>
                    <a:pt x="2053" y="1228"/>
                  </a:lnTo>
                  <a:lnTo>
                    <a:pt x="2042" y="1225"/>
                  </a:lnTo>
                  <a:lnTo>
                    <a:pt x="2030" y="1222"/>
                  </a:lnTo>
                  <a:lnTo>
                    <a:pt x="2018" y="1220"/>
                  </a:lnTo>
                  <a:lnTo>
                    <a:pt x="2006" y="1215"/>
                  </a:lnTo>
                  <a:lnTo>
                    <a:pt x="1992" y="1212"/>
                  </a:lnTo>
                  <a:lnTo>
                    <a:pt x="1979" y="1206"/>
                  </a:lnTo>
                  <a:lnTo>
                    <a:pt x="1966" y="1202"/>
                  </a:lnTo>
                  <a:lnTo>
                    <a:pt x="1952" y="1195"/>
                  </a:lnTo>
                  <a:lnTo>
                    <a:pt x="1939" y="1188"/>
                  </a:lnTo>
                  <a:lnTo>
                    <a:pt x="1925" y="1181"/>
                  </a:lnTo>
                  <a:lnTo>
                    <a:pt x="1911" y="1173"/>
                  </a:lnTo>
                  <a:lnTo>
                    <a:pt x="1898" y="1164"/>
                  </a:lnTo>
                  <a:lnTo>
                    <a:pt x="1884" y="1155"/>
                  </a:lnTo>
                  <a:lnTo>
                    <a:pt x="1872" y="1144"/>
                  </a:lnTo>
                  <a:lnTo>
                    <a:pt x="1859" y="1134"/>
                  </a:lnTo>
                  <a:lnTo>
                    <a:pt x="1847" y="1121"/>
                  </a:lnTo>
                  <a:lnTo>
                    <a:pt x="1834" y="1109"/>
                  </a:lnTo>
                  <a:lnTo>
                    <a:pt x="1823" y="1095"/>
                  </a:lnTo>
                  <a:lnTo>
                    <a:pt x="1813" y="1081"/>
                  </a:lnTo>
                  <a:lnTo>
                    <a:pt x="1803" y="1065"/>
                  </a:lnTo>
                  <a:lnTo>
                    <a:pt x="1798" y="1057"/>
                  </a:lnTo>
                  <a:lnTo>
                    <a:pt x="1794" y="1049"/>
                  </a:lnTo>
                  <a:lnTo>
                    <a:pt x="1789" y="1040"/>
                  </a:lnTo>
                  <a:lnTo>
                    <a:pt x="1786" y="1031"/>
                  </a:lnTo>
                  <a:lnTo>
                    <a:pt x="1781" y="1022"/>
                  </a:lnTo>
                  <a:lnTo>
                    <a:pt x="1778" y="1013"/>
                  </a:lnTo>
                  <a:lnTo>
                    <a:pt x="1774" y="1003"/>
                  </a:lnTo>
                  <a:lnTo>
                    <a:pt x="1771" y="993"/>
                  </a:lnTo>
                  <a:lnTo>
                    <a:pt x="1769" y="983"/>
                  </a:lnTo>
                  <a:lnTo>
                    <a:pt x="1765" y="973"/>
                  </a:lnTo>
                  <a:lnTo>
                    <a:pt x="1763" y="963"/>
                  </a:lnTo>
                  <a:lnTo>
                    <a:pt x="1761" y="951"/>
                  </a:lnTo>
                  <a:lnTo>
                    <a:pt x="1760" y="940"/>
                  </a:lnTo>
                  <a:lnTo>
                    <a:pt x="1759" y="929"/>
                  </a:lnTo>
                  <a:lnTo>
                    <a:pt x="1757" y="917"/>
                  </a:lnTo>
                  <a:lnTo>
                    <a:pt x="1756" y="905"/>
                  </a:lnTo>
                  <a:lnTo>
                    <a:pt x="1755" y="893"/>
                  </a:lnTo>
                  <a:lnTo>
                    <a:pt x="1755" y="880"/>
                  </a:lnTo>
                  <a:lnTo>
                    <a:pt x="2250" y="880"/>
                  </a:lnTo>
                  <a:lnTo>
                    <a:pt x="1125" y="0"/>
                  </a:lnTo>
                  <a:lnTo>
                    <a:pt x="0" y="880"/>
                  </a:lnTo>
                  <a:lnTo>
                    <a:pt x="495" y="880"/>
                  </a:lnTo>
                  <a:lnTo>
                    <a:pt x="495" y="898"/>
                  </a:lnTo>
                  <a:lnTo>
                    <a:pt x="495" y="920"/>
                  </a:lnTo>
                  <a:lnTo>
                    <a:pt x="497" y="950"/>
                  </a:lnTo>
                  <a:lnTo>
                    <a:pt x="499" y="987"/>
                  </a:lnTo>
                  <a:lnTo>
                    <a:pt x="504" y="1030"/>
                  </a:lnTo>
                  <a:lnTo>
                    <a:pt x="509" y="1079"/>
                  </a:lnTo>
                  <a:lnTo>
                    <a:pt x="518" y="1134"/>
                  </a:lnTo>
                  <a:lnTo>
                    <a:pt x="529" y="1193"/>
                  </a:lnTo>
                  <a:lnTo>
                    <a:pt x="535" y="1224"/>
                  </a:lnTo>
                  <a:lnTo>
                    <a:pt x="543" y="1256"/>
                  </a:lnTo>
                  <a:lnTo>
                    <a:pt x="551" y="1290"/>
                  </a:lnTo>
                  <a:lnTo>
                    <a:pt x="560" y="1324"/>
                  </a:lnTo>
                  <a:lnTo>
                    <a:pt x="570" y="1358"/>
                  </a:lnTo>
                  <a:lnTo>
                    <a:pt x="582" y="1394"/>
                  </a:lnTo>
                  <a:lnTo>
                    <a:pt x="594" y="1429"/>
                  </a:lnTo>
                  <a:lnTo>
                    <a:pt x="607" y="1467"/>
                  </a:lnTo>
                  <a:lnTo>
                    <a:pt x="621" y="1503"/>
                  </a:lnTo>
                  <a:lnTo>
                    <a:pt x="636" y="1540"/>
                  </a:lnTo>
                  <a:lnTo>
                    <a:pt x="653" y="1579"/>
                  </a:lnTo>
                  <a:lnTo>
                    <a:pt x="671" y="1616"/>
                  </a:lnTo>
                  <a:lnTo>
                    <a:pt x="690" y="1655"/>
                  </a:lnTo>
                  <a:lnTo>
                    <a:pt x="711" y="1693"/>
                  </a:lnTo>
                  <a:lnTo>
                    <a:pt x="732" y="1731"/>
                  </a:lnTo>
                  <a:lnTo>
                    <a:pt x="755" y="1769"/>
                  </a:lnTo>
                  <a:lnTo>
                    <a:pt x="780" y="1808"/>
                  </a:lnTo>
                  <a:lnTo>
                    <a:pt x="806" y="1845"/>
                  </a:lnTo>
                  <a:lnTo>
                    <a:pt x="834" y="1882"/>
                  </a:lnTo>
                  <a:lnTo>
                    <a:pt x="864" y="1920"/>
                  </a:lnTo>
                  <a:lnTo>
                    <a:pt x="894" y="1956"/>
                  </a:lnTo>
                  <a:lnTo>
                    <a:pt x="927" y="1993"/>
                  </a:lnTo>
                  <a:lnTo>
                    <a:pt x="961" y="2028"/>
                  </a:lnTo>
                  <a:lnTo>
                    <a:pt x="997" y="2063"/>
                  </a:lnTo>
                  <a:lnTo>
                    <a:pt x="1035" y="2097"/>
                  </a:lnTo>
                  <a:lnTo>
                    <a:pt x="1076" y="2131"/>
                  </a:lnTo>
                  <a:lnTo>
                    <a:pt x="1096" y="2147"/>
                  </a:lnTo>
                  <a:lnTo>
                    <a:pt x="1116" y="2164"/>
                  </a:lnTo>
                  <a:lnTo>
                    <a:pt x="1138" y="2180"/>
                  </a:lnTo>
                  <a:lnTo>
                    <a:pt x="1161" y="2196"/>
                  </a:lnTo>
                  <a:lnTo>
                    <a:pt x="1183" y="2211"/>
                  </a:lnTo>
                  <a:lnTo>
                    <a:pt x="1206" y="2227"/>
                  </a:lnTo>
                  <a:lnTo>
                    <a:pt x="1230" y="2241"/>
                  </a:lnTo>
                  <a:lnTo>
                    <a:pt x="1253" y="2256"/>
                  </a:lnTo>
                  <a:lnTo>
                    <a:pt x="1278" y="2271"/>
                  </a:lnTo>
                  <a:lnTo>
                    <a:pt x="1303" y="2284"/>
                  </a:lnTo>
                  <a:lnTo>
                    <a:pt x="1329" y="2298"/>
                  </a:lnTo>
                  <a:lnTo>
                    <a:pt x="1355" y="2312"/>
                  </a:lnTo>
                  <a:lnTo>
                    <a:pt x="1383" y="2325"/>
                  </a:lnTo>
                  <a:lnTo>
                    <a:pt x="1410" y="2338"/>
                  </a:lnTo>
                  <a:lnTo>
                    <a:pt x="1438" y="2350"/>
                  </a:lnTo>
                  <a:lnTo>
                    <a:pt x="1466" y="2362"/>
                  </a:lnTo>
                  <a:lnTo>
                    <a:pt x="1495" y="2374"/>
                  </a:lnTo>
                  <a:lnTo>
                    <a:pt x="1524" y="2385"/>
                  </a:lnTo>
                  <a:lnTo>
                    <a:pt x="1555" y="2396"/>
                  </a:lnTo>
                  <a:lnTo>
                    <a:pt x="1585" y="2407"/>
                  </a:lnTo>
                  <a:lnTo>
                    <a:pt x="1617" y="2417"/>
                  </a:lnTo>
                  <a:lnTo>
                    <a:pt x="1649" y="2427"/>
                  </a:lnTo>
                  <a:lnTo>
                    <a:pt x="1682" y="2436"/>
                  </a:lnTo>
                  <a:lnTo>
                    <a:pt x="1714" y="2445"/>
                  </a:lnTo>
                  <a:lnTo>
                    <a:pt x="1748" y="2454"/>
                  </a:lnTo>
                  <a:lnTo>
                    <a:pt x="1782" y="2462"/>
                  </a:lnTo>
                  <a:lnTo>
                    <a:pt x="1817" y="2469"/>
                  </a:lnTo>
                  <a:lnTo>
                    <a:pt x="1853" y="2477"/>
                  </a:lnTo>
                  <a:lnTo>
                    <a:pt x="1889" y="2483"/>
                  </a:lnTo>
                  <a:lnTo>
                    <a:pt x="1926" y="2489"/>
                  </a:lnTo>
                  <a:lnTo>
                    <a:pt x="1964" y="2495"/>
                  </a:lnTo>
                  <a:lnTo>
                    <a:pt x="2002" y="2501"/>
                  </a:lnTo>
                  <a:lnTo>
                    <a:pt x="2041" y="2505"/>
                  </a:lnTo>
                  <a:lnTo>
                    <a:pt x="2080" y="2509"/>
                  </a:lnTo>
                  <a:lnTo>
                    <a:pt x="2120" y="2512"/>
                  </a:lnTo>
                  <a:lnTo>
                    <a:pt x="2161" y="2515"/>
                  </a:lnTo>
                  <a:lnTo>
                    <a:pt x="2244" y="2520"/>
                  </a:lnTo>
                  <a:lnTo>
                    <a:pt x="2331" y="2522"/>
                  </a:lnTo>
                  <a:lnTo>
                    <a:pt x="3819" y="2522"/>
                  </a:lnTo>
                </a:path>
              </a:pathLst>
            </a:custGeom>
            <a:solidFill>
              <a:schemeClr val="bg2"/>
            </a:solidFill>
            <a:ln w="6350" cap="rnd">
              <a:noFill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6350" cap="rnd">
                  <a:solidFill>
                    <a:srgbClr val="ADABA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>
                <a:defRPr/>
              </a:pPr>
              <a:endParaRPr lang="fr-FR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107" name="Rectangle 106"/>
          <p:cNvSpPr/>
          <p:nvPr/>
        </p:nvSpPr>
        <p:spPr bwMode="gray">
          <a:xfrm>
            <a:off x="381001" y="4607428"/>
            <a:ext cx="1219200" cy="727122"/>
          </a:xfrm>
          <a:prstGeom prst="rect">
            <a:avLst/>
          </a:prstGeom>
          <a:solidFill>
            <a:schemeClr val="accent3"/>
          </a:solidFill>
          <a:ln w="6350" cap="rnd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anchorCtr="0">
            <a:spAutoFit/>
          </a:bodyPr>
          <a:lstStyle/>
          <a:p>
            <a:pPr eaLnBrk="0" hangingPunct="0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  <a:defRPr/>
            </a:pPr>
            <a:r>
              <a:rPr lang="cs-CZ" sz="1400" b="1" dirty="0" smtClean="0">
                <a:solidFill>
                  <a:schemeClr val="bg1"/>
                </a:solidFill>
                <a:latin typeface="Arial"/>
                <a:cs typeface="Arial"/>
              </a:rPr>
              <a:t>Potřeby skupin zákazníků</a:t>
            </a:r>
            <a:endParaRPr lang="cs-CZ" sz="1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08" name="Rectangle 107"/>
          <p:cNvSpPr/>
          <p:nvPr/>
        </p:nvSpPr>
        <p:spPr bwMode="gray">
          <a:xfrm>
            <a:off x="452438" y="3354697"/>
            <a:ext cx="1231582" cy="533223"/>
          </a:xfrm>
          <a:prstGeom prst="rect">
            <a:avLst/>
          </a:prstGeom>
          <a:solidFill>
            <a:schemeClr val="accent3"/>
          </a:solidFill>
          <a:ln w="6350" cap="rnd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anchor="b" anchorCtr="0">
            <a:spAutoFit/>
          </a:bodyPr>
          <a:lstStyle/>
          <a:p>
            <a:pPr eaLnBrk="0" hangingPunct="0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  <a:defRPr/>
            </a:pPr>
            <a:r>
              <a:rPr lang="cs-CZ" sz="1400" b="1" dirty="0" smtClean="0">
                <a:solidFill>
                  <a:schemeClr val="bg1"/>
                </a:solidFill>
                <a:latin typeface="Arial"/>
                <a:cs typeface="Arial"/>
              </a:rPr>
              <a:t>Makro- </a:t>
            </a:r>
            <a:r>
              <a:rPr lang="cs-CZ" sz="1400" b="1" dirty="0" smtClean="0">
                <a:solidFill>
                  <a:schemeClr val="bg1"/>
                </a:solidFill>
                <a:latin typeface="Arial"/>
                <a:cs typeface="Arial"/>
              </a:rPr>
              <a:t>a </a:t>
            </a:r>
            <a:r>
              <a:rPr lang="cs-CZ" sz="1400" b="1" dirty="0" smtClean="0">
                <a:solidFill>
                  <a:schemeClr val="bg1"/>
                </a:solidFill>
                <a:latin typeface="Arial"/>
                <a:cs typeface="Arial"/>
              </a:rPr>
              <a:t>tržní trendy</a:t>
            </a:r>
            <a:endParaRPr lang="cs-CZ" sz="1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cxnSp>
        <p:nvCxnSpPr>
          <p:cNvPr id="116" name="Straight Connector 115"/>
          <p:cNvCxnSpPr/>
          <p:nvPr/>
        </p:nvCxnSpPr>
        <p:spPr bwMode="gray">
          <a:xfrm>
            <a:off x="585788" y="3757613"/>
            <a:ext cx="604837" cy="0"/>
          </a:xfrm>
          <a:prstGeom prst="line">
            <a:avLst/>
          </a:prstGeom>
          <a:noFill/>
          <a:ln w="6350" cap="rnd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6350" cap="rnd" cmpd="sng" algn="ctr">
                <a:solidFill>
                  <a:srgbClr val="ADABA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244475" y="1628140"/>
            <a:ext cx="6842760" cy="2492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buClr>
                <a:srgbClr val="7D0900"/>
              </a:buClr>
              <a:defRPr/>
            </a:pPr>
            <a:r>
              <a:rPr lang="cs-CZ" b="1" dirty="0" smtClean="0">
                <a:latin typeface="Arial"/>
                <a:cs typeface="+mn-cs"/>
              </a:rPr>
              <a:t>Nástroje na zvýšení hodnoty řízení inovací</a:t>
            </a:r>
            <a:endParaRPr lang="cs-CZ" b="1" dirty="0">
              <a:latin typeface="Arial"/>
              <a:cs typeface="+mn-cs"/>
            </a:endParaRPr>
          </a:p>
        </p:txBody>
      </p:sp>
      <p:sp>
        <p:nvSpPr>
          <p:cNvPr id="10292" name="Rectangle 32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245110" y="6368288"/>
            <a:ext cx="64008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marL="137160" indent="-137160" eaLnBrk="0" hangingPunct="0">
              <a:lnSpc>
                <a:spcPct val="90000"/>
              </a:lnSpc>
              <a:buFontTx/>
              <a:buAutoNum type="arabicPeriod"/>
            </a:pPr>
            <a:endParaRPr lang="cs-CZ" sz="800" dirty="0" smtClean="0">
              <a:latin typeface="Arial"/>
            </a:endParaRPr>
          </a:p>
          <a:p>
            <a:pPr marL="137160" indent="-137160" eaLnBrk="0" hangingPunct="0">
              <a:lnSpc>
                <a:spcPct val="90000"/>
              </a:lnSpc>
              <a:buFontTx/>
              <a:buAutoNum type="arabicPeriod"/>
            </a:pPr>
            <a:endParaRPr lang="cs-CZ" sz="800" dirty="0" smtClean="0">
              <a:latin typeface="Arial"/>
            </a:endParaRPr>
          </a:p>
          <a:p>
            <a:pPr marL="137160" indent="-137160" eaLnBrk="0" hangingPunct="0">
              <a:lnSpc>
                <a:spcPct val="90000"/>
              </a:lnSpc>
            </a:pPr>
            <a:r>
              <a:rPr lang="cs-CZ" sz="800" dirty="0" smtClean="0">
                <a:latin typeface="Arial"/>
              </a:rPr>
              <a:t>Zdroj: A.T. Kearney</a:t>
            </a:r>
            <a:endParaRPr lang="cs-CZ" sz="800" dirty="0">
              <a:latin typeface="Arial"/>
            </a:endParaRPr>
          </a:p>
        </p:txBody>
      </p:sp>
      <p:sp>
        <p:nvSpPr>
          <p:cNvPr id="106" name="Oval 58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244475" y="2057400"/>
            <a:ext cx="252000" cy="252000"/>
          </a:xfrm>
          <a:prstGeom prst="ellipse">
            <a:avLst/>
          </a:prstGeom>
          <a:solidFill>
            <a:schemeClr val="tx2"/>
          </a:solidFill>
          <a:ln w="6350">
            <a:noFill/>
            <a:round/>
            <a:headEnd/>
            <a:tailEnd/>
          </a:ln>
          <a:extLst/>
        </p:spPr>
        <p:txBody>
          <a:bodyPr wrap="none" lIns="72000" tIns="72000" rIns="72000" bIns="72000" anchor="ctr"/>
          <a:lstStyle/>
          <a:p>
            <a:pPr algn="ctr" eaLnBrk="0" hangingPunct="0">
              <a:lnSpc>
                <a:spcPct val="85000"/>
              </a:lnSpc>
            </a:pPr>
            <a:r>
              <a:rPr lang="cs-CZ" sz="1400" b="1" dirty="0" smtClean="0">
                <a:solidFill>
                  <a:schemeClr val="bg1"/>
                </a:solidFill>
                <a:latin typeface="Arial"/>
                <a:cs typeface="Arial"/>
              </a:rPr>
              <a:t>A</a:t>
            </a:r>
            <a:endParaRPr lang="cs-CZ" sz="1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0" name="Oval 58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2129725" y="2057400"/>
            <a:ext cx="252000" cy="252000"/>
          </a:xfrm>
          <a:prstGeom prst="ellipse">
            <a:avLst/>
          </a:prstGeom>
          <a:solidFill>
            <a:schemeClr val="tx2"/>
          </a:solidFill>
          <a:ln w="6350">
            <a:noFill/>
            <a:round/>
            <a:headEnd/>
            <a:tailEnd/>
          </a:ln>
          <a:extLst/>
        </p:spPr>
        <p:txBody>
          <a:bodyPr wrap="none" lIns="72000" tIns="72000" rIns="72000" bIns="72000" anchor="ctr"/>
          <a:lstStyle/>
          <a:p>
            <a:pPr algn="ctr" eaLnBrk="0" hangingPunct="0">
              <a:lnSpc>
                <a:spcPct val="85000"/>
              </a:lnSpc>
            </a:pPr>
            <a:r>
              <a:rPr lang="cs-CZ" sz="1400" b="1" dirty="0" smtClean="0">
                <a:solidFill>
                  <a:schemeClr val="bg1"/>
                </a:solidFill>
                <a:latin typeface="Arial"/>
                <a:cs typeface="Arial"/>
              </a:rPr>
              <a:t>B</a:t>
            </a:r>
            <a:endParaRPr lang="cs-CZ" sz="1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1" name="Oval 58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6795877" y="2057400"/>
            <a:ext cx="252000" cy="252000"/>
          </a:xfrm>
          <a:prstGeom prst="ellipse">
            <a:avLst/>
          </a:prstGeom>
          <a:solidFill>
            <a:schemeClr val="tx2"/>
          </a:solidFill>
          <a:ln w="6350">
            <a:noFill/>
            <a:round/>
            <a:headEnd/>
            <a:tailEnd/>
          </a:ln>
          <a:extLst/>
        </p:spPr>
        <p:txBody>
          <a:bodyPr wrap="none" lIns="72000" tIns="72000" rIns="72000" bIns="72000" anchor="ctr"/>
          <a:lstStyle/>
          <a:p>
            <a:pPr algn="ctr" eaLnBrk="0" hangingPunct="0">
              <a:lnSpc>
                <a:spcPct val="85000"/>
              </a:lnSpc>
            </a:pPr>
            <a:r>
              <a:rPr lang="cs-CZ" sz="1400" b="1" dirty="0" smtClean="0">
                <a:solidFill>
                  <a:schemeClr val="bg1"/>
                </a:solidFill>
                <a:latin typeface="Arial"/>
                <a:cs typeface="Arial"/>
              </a:rPr>
              <a:t>D</a:t>
            </a:r>
            <a:endParaRPr lang="cs-CZ" sz="1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2" name="Oval 58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4518744" y="3112499"/>
            <a:ext cx="252000" cy="252000"/>
          </a:xfrm>
          <a:prstGeom prst="ellipse">
            <a:avLst/>
          </a:prstGeom>
          <a:solidFill>
            <a:schemeClr val="tx2"/>
          </a:solidFill>
          <a:ln w="6350">
            <a:noFill/>
            <a:round/>
            <a:headEnd/>
            <a:tailEnd/>
          </a:ln>
          <a:extLst/>
        </p:spPr>
        <p:txBody>
          <a:bodyPr wrap="none" lIns="72000" tIns="72000" rIns="72000" bIns="72000" anchor="ctr"/>
          <a:lstStyle/>
          <a:p>
            <a:pPr algn="ctr" eaLnBrk="0" hangingPunct="0">
              <a:lnSpc>
                <a:spcPct val="85000"/>
              </a:lnSpc>
            </a:pPr>
            <a:r>
              <a:rPr lang="cs-CZ" sz="1400" b="1" dirty="0" smtClean="0">
                <a:solidFill>
                  <a:schemeClr val="bg1"/>
                </a:solidFill>
                <a:latin typeface="Arial"/>
                <a:cs typeface="Arial"/>
              </a:rPr>
              <a:t>C</a:t>
            </a:r>
            <a:endParaRPr lang="cs-CZ" sz="1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3" name="Oval 58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2129725" y="5785262"/>
            <a:ext cx="252000" cy="252000"/>
          </a:xfrm>
          <a:prstGeom prst="ellipse">
            <a:avLst/>
          </a:prstGeom>
          <a:solidFill>
            <a:schemeClr val="tx2"/>
          </a:solidFill>
          <a:ln w="6350">
            <a:noFill/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 eaLnBrk="0" hangingPunct="0">
              <a:lnSpc>
                <a:spcPct val="85000"/>
              </a:lnSpc>
            </a:pPr>
            <a:r>
              <a:rPr lang="cs-CZ" sz="1400" b="1" dirty="0" smtClean="0">
                <a:solidFill>
                  <a:schemeClr val="bg1"/>
                </a:solidFill>
                <a:latin typeface="Arial"/>
                <a:cs typeface="Arial"/>
              </a:rPr>
              <a:t>E</a:t>
            </a:r>
            <a:endParaRPr lang="cs-CZ" sz="1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6926682" y="139700"/>
            <a:ext cx="1965858" cy="1661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200" dirty="0" smtClean="0">
                <a:latin typeface="Arial"/>
              </a:rPr>
              <a:t>A.T. Kearney a řízení inovací</a:t>
            </a:r>
          </a:p>
        </p:txBody>
      </p:sp>
    </p:spTree>
    <p:extLst>
      <p:ext uri="{BB962C8B-B14F-4D97-AF65-F5344CB8AC3E}">
        <p14:creationId xmlns:p14="http://schemas.microsoft.com/office/powerpoint/2010/main" val="3691485184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44800" y="1627632"/>
            <a:ext cx="8646287" cy="1661993"/>
          </a:xfrm>
        </p:spPr>
        <p:txBody>
          <a:bodyPr/>
          <a:lstStyle/>
          <a:p>
            <a:r>
              <a:rPr lang="cs-CZ" b="1" dirty="0" smtClean="0">
                <a:solidFill>
                  <a:schemeClr val="bg2"/>
                </a:solidFill>
              </a:rPr>
              <a:t>Faktor úspěchu #1: </a:t>
            </a:r>
            <a:r>
              <a:rPr lang="cs-CZ" dirty="0" smtClean="0"/>
              <a:t>Lídři v inovacích …</a:t>
            </a:r>
            <a:br>
              <a:rPr lang="cs-CZ" dirty="0" smtClean="0"/>
            </a:b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… věnují více pozornosti analýze tržního a technologického vývoje za účelem porozumění budoucích výzev a příležitostí. </a:t>
            </a:r>
            <a:br>
              <a:rPr lang="cs-CZ" dirty="0" smtClean="0"/>
            </a:br>
            <a:r>
              <a:rPr lang="cs-CZ" dirty="0" smtClean="0"/>
              <a:t>To jim umožňuje efektivní rozhodování. </a:t>
            </a:r>
            <a:endParaRPr lang="cs-CZ" dirty="0"/>
          </a:p>
        </p:txBody>
      </p:sp>
      <p:pic>
        <p:nvPicPr>
          <p:cNvPr id="126981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7135" y="486358"/>
            <a:ext cx="1898740" cy="926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17967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135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8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44800" y="804672"/>
            <a:ext cx="8640000" cy="664797"/>
          </a:xfrm>
        </p:spPr>
        <p:txBody>
          <a:bodyPr/>
          <a:lstStyle/>
          <a:p>
            <a:pPr marL="361950"/>
            <a:r>
              <a:rPr lang="cs-CZ" dirty="0" smtClean="0"/>
              <a:t>Vítězové Best Innovator systematicky analyzují světové trhy </a:t>
            </a:r>
            <a:r>
              <a:rPr lang="cs-CZ" dirty="0" smtClean="0"/>
              <a:t>a technologické </a:t>
            </a:r>
            <a:r>
              <a:rPr lang="cs-CZ" dirty="0" smtClean="0"/>
              <a:t>trendy za účelem efektivního rozhodování</a:t>
            </a:r>
            <a:endParaRPr lang="cs-CZ" dirty="0"/>
          </a:p>
        </p:txBody>
      </p:sp>
      <p:sp>
        <p:nvSpPr>
          <p:cNvPr id="4" name="Oval 3"/>
          <p:cNvSpPr/>
          <p:nvPr>
            <p:custDataLst>
              <p:tags r:id="rId5"/>
            </p:custDataLst>
          </p:nvPr>
        </p:nvSpPr>
        <p:spPr>
          <a:xfrm>
            <a:off x="246380" y="804672"/>
            <a:ext cx="279400" cy="279400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cs-CZ" sz="1600" b="1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1</a:t>
            </a:r>
          </a:p>
        </p:txBody>
      </p:sp>
      <p:graphicFrame>
        <p:nvGraphicFramePr>
          <p:cNvPr id="7" name="Object 6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61892321"/>
              </p:ext>
            </p:extLst>
          </p:nvPr>
        </p:nvGraphicFramePr>
        <p:xfrm>
          <a:off x="1839912" y="2451100"/>
          <a:ext cx="5438880" cy="3371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83" name="Chart" r:id="rId18" imgW="5438843" imgH="3371850" progId="MSGraph.Chart.8">
                  <p:embed followColorScheme="full"/>
                </p:oleObj>
              </mc:Choice>
              <mc:Fallback>
                <p:oleObj name="Chart" r:id="rId18" imgW="5438843" imgH="337185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839912" y="2451100"/>
                        <a:ext cx="5438880" cy="3371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>
            <p:custDataLst>
              <p:tags r:id="rId7"/>
            </p:custDataLst>
          </p:nvPr>
        </p:nvSpPr>
        <p:spPr bwMode="auto">
          <a:xfrm>
            <a:off x="4764088" y="5822950"/>
            <a:ext cx="2219325" cy="192088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8021E9C-B3A3-4FB2-A8FE-B45E96E10B50}" type="datetime'Průměr ú''č''''a''''''st''n''í''''k''ů'' so''u''''t''ěže'">
              <a:rPr lang="en-US" sz="1400" b="1">
                <a:solidFill>
                  <a:schemeClr val="tx1"/>
                </a:solidFill>
                <a:cs typeface="Arial"/>
              </a:rPr>
              <a:pPr/>
              <a:t>Průměr účastníků soutěže</a:t>
            </a:fld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Rectangle 8"/>
          <p:cNvSpPr/>
          <p:nvPr>
            <p:custDataLst>
              <p:tags r:id="rId8"/>
            </p:custDataLst>
          </p:nvPr>
        </p:nvSpPr>
        <p:spPr bwMode="auto">
          <a:xfrm>
            <a:off x="5695950" y="3195638"/>
            <a:ext cx="355600" cy="192088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C677728-2270-4596-8C09-337B688EC150}" type="datetime'6''5''''%'''''''''''''''''''''''''''''''''''''''''''''">
              <a:rPr lang="cs-CZ" sz="1400" b="1" smtClean="0">
                <a:solidFill>
                  <a:schemeClr val="tx1"/>
                </a:solidFill>
                <a:cs typeface="Arial"/>
              </a:rPr>
              <a:pPr/>
              <a:t>65%</a:t>
            </a:fld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Rectangle 9"/>
          <p:cNvSpPr/>
          <p:nvPr>
            <p:custDataLst>
              <p:tags r:id="rId9"/>
            </p:custDataLst>
          </p:nvPr>
        </p:nvSpPr>
        <p:spPr bwMode="auto">
          <a:xfrm>
            <a:off x="2239963" y="5822950"/>
            <a:ext cx="2020888" cy="192088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71B34B8-6606-4737-A41D-07CA10436224}" type="datetime'Ví''t''ězov''''''''é Best ''In''nov''''''''a''''''to''r'''''''">
              <a:rPr lang="cs-CZ" sz="1400" b="1" smtClean="0">
                <a:solidFill>
                  <a:schemeClr val="tx1"/>
                </a:solidFill>
                <a:cs typeface="Arial"/>
              </a:rPr>
              <a:pPr/>
              <a:t>Vítězové Best Innovator</a:t>
            </a:fld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" name="Rectangle 7"/>
          <p:cNvSpPr/>
          <p:nvPr>
            <p:custDataLst>
              <p:tags r:id="rId10"/>
            </p:custDataLst>
          </p:nvPr>
        </p:nvSpPr>
        <p:spPr bwMode="auto">
          <a:xfrm>
            <a:off x="3071813" y="2328863"/>
            <a:ext cx="355600" cy="192088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C88F27F-6CFD-4F9A-9808-1535630BF2A7}" type="datetime'''9''''0''''''''''''''''''''''''''''''''%'''''''''''''''''''''">
              <a:rPr lang="cs-CZ" sz="1400" b="1" smtClean="0">
                <a:solidFill>
                  <a:schemeClr val="tx1"/>
                </a:solidFill>
                <a:cs typeface="Arial"/>
              </a:rPr>
              <a:pPr/>
              <a:t>90%</a:t>
            </a:fld>
            <a:endParaRPr lang="cs-CZ" sz="1400" b="1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" name="Rectangle 1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44474" y="1628140"/>
            <a:ext cx="8251961" cy="47089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cs-CZ" b="1" dirty="0" smtClean="0">
                <a:latin typeface="Arial"/>
              </a:rPr>
              <a:t>Identifikace globálních trendů je </a:t>
            </a:r>
            <a:r>
              <a:rPr lang="cs-CZ" b="1" dirty="0" smtClean="0">
                <a:latin typeface="Arial"/>
              </a:rPr>
              <a:t>jednou z rolí v </a:t>
            </a:r>
            <a:r>
              <a:rPr lang="cs-CZ" b="1" dirty="0" smtClean="0">
                <a:latin typeface="Arial"/>
              </a:rPr>
              <a:t>řízení inovací </a:t>
            </a:r>
            <a:br>
              <a:rPr lang="cs-CZ" b="1" dirty="0" smtClean="0">
                <a:latin typeface="Arial"/>
              </a:rPr>
            </a:br>
            <a:r>
              <a:rPr lang="cs-CZ" sz="1600" dirty="0" smtClean="0">
                <a:latin typeface="Arial"/>
              </a:rPr>
              <a:t>(% účastníků)</a:t>
            </a:r>
            <a:endParaRPr lang="cs-CZ" sz="1600" baseline="30000" dirty="0">
              <a:latin typeface="Arial"/>
            </a:endParaRPr>
          </a:p>
        </p:txBody>
      </p:sp>
      <p:sp>
        <p:nvSpPr>
          <p:cNvPr id="18" name="Rectangle 17"/>
          <p:cNvSpPr/>
          <p:nvPr>
            <p:custDataLst>
              <p:tags r:id="rId12"/>
            </p:custDataLst>
          </p:nvPr>
        </p:nvSpPr>
        <p:spPr bwMode="gray">
          <a:xfrm>
            <a:off x="245110" y="6368288"/>
            <a:ext cx="6400800" cy="368300"/>
          </a:xfrm>
          <a:prstGeom prst="rect">
            <a:avLst/>
          </a:prstGeom>
          <a:noFill/>
          <a:ln w="6350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rnd" cmpd="sng" algn="ctr">
                <a:solidFill>
                  <a:srgbClr val="ADABA1"/>
                </a:solidFill>
                <a:prstDash val="solid"/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b" anchorCtr="0">
            <a:noAutofit/>
          </a:bodyPr>
          <a:lstStyle/>
          <a:p>
            <a:pPr marL="137160" indent="-137160">
              <a:lnSpc>
                <a:spcPct val="90000"/>
              </a:lnSpc>
              <a:buFontTx/>
              <a:buAutoNum type="arabicPeriod"/>
              <a:defRPr/>
            </a:pPr>
            <a:endParaRPr lang="cs-CZ" sz="8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37160" indent="-137160">
              <a:lnSpc>
                <a:spcPct val="90000"/>
              </a:lnSpc>
              <a:buFontTx/>
              <a:buAutoNum type="arabicPeriod"/>
              <a:defRPr/>
            </a:pPr>
            <a:endParaRPr lang="cs-CZ" sz="8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marL="137160" indent="-137160">
              <a:lnSpc>
                <a:spcPct val="90000"/>
              </a:lnSpc>
              <a:defRPr/>
            </a:pPr>
            <a:r>
              <a:rPr lang="cs-CZ" sz="800" dirty="0" smtClean="0">
                <a:solidFill>
                  <a:schemeClr val="tx1"/>
                </a:solidFill>
                <a:latin typeface="Arial"/>
                <a:cs typeface="Arial" pitchFamily="34" charset="0"/>
              </a:rPr>
              <a:t>Zdroj: A.T. Kearney Best Innovator 2012</a:t>
            </a:r>
            <a:endParaRPr lang="cs-CZ" sz="800" dirty="0">
              <a:solidFill>
                <a:schemeClr val="tx1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9" name="Picture 5" descr="Best Innovator klein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458522" y="1444625"/>
            <a:ext cx="36195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>
            <p:custDataLst>
              <p:tags r:id="rId14"/>
            </p:custDataLst>
          </p:nvPr>
        </p:nvSpPr>
        <p:spPr>
          <a:xfrm>
            <a:off x="7621358" y="139700"/>
            <a:ext cx="1271182" cy="1661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200" dirty="0" smtClean="0">
                <a:latin typeface="Arial"/>
              </a:rPr>
              <a:t>Faktor úspěchu </a:t>
            </a:r>
            <a:r>
              <a:rPr lang="en-US" sz="1200" dirty="0">
                <a:latin typeface="Arial"/>
              </a:rPr>
              <a:t>#</a:t>
            </a:r>
            <a:r>
              <a:rPr lang="cs-CZ" sz="1200" dirty="0" smtClean="0">
                <a:latin typeface="Arial"/>
              </a:rPr>
              <a:t>1</a:t>
            </a:r>
            <a:endParaRPr lang="cs-CZ" sz="1200" dirty="0" smtClean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26669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8524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9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2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244800" y="804672"/>
            <a:ext cx="8640000" cy="664797"/>
          </a:xfrm>
        </p:spPr>
        <p:txBody>
          <a:bodyPr/>
          <a:lstStyle/>
          <a:p>
            <a:pPr marL="361950"/>
            <a:r>
              <a:rPr lang="cs-CZ" dirty="0" smtClean="0"/>
              <a:t>Lídři v inovacích chápou dopady makro trendů do jejich vlastního businessu</a:t>
            </a:r>
            <a:endParaRPr lang="cs-CZ" dirty="0" smtClean="0"/>
          </a:p>
        </p:txBody>
      </p:sp>
      <p:sp>
        <p:nvSpPr>
          <p:cNvPr id="20483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2425" y="1439863"/>
            <a:ext cx="8442325" cy="3889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68288" indent="-268288" eaLnBrk="0" hangingPunct="0">
              <a:spcBef>
                <a:spcPct val="90000"/>
              </a:spcBef>
              <a:buClr>
                <a:srgbClr val="FFFFFF"/>
              </a:buClr>
              <a:buFontTx/>
              <a:buChar char="•"/>
            </a:pPr>
            <a:endParaRPr lang="en-GB" sz="1600" b="1" dirty="0">
              <a:solidFill>
                <a:srgbClr val="000000"/>
              </a:solidFill>
            </a:endParaRPr>
          </a:p>
        </p:txBody>
      </p:sp>
      <p:sp>
        <p:nvSpPr>
          <p:cNvPr id="20486" name="AutoShap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2888" y="2060574"/>
            <a:ext cx="8650287" cy="1581617"/>
          </a:xfrm>
          <a:prstGeom prst="downArrow">
            <a:avLst>
              <a:gd name="adj1" fmla="val 100000"/>
              <a:gd name="adj2" fmla="val 13273"/>
            </a:avLst>
          </a:prstGeom>
          <a:solidFill>
            <a:schemeClr val="accent3"/>
          </a:solidFill>
          <a:ln w="15875">
            <a:noFill/>
            <a:miter lim="800000"/>
            <a:headEnd/>
            <a:tailEnd/>
          </a:ln>
        </p:spPr>
        <p:txBody>
          <a:bodyPr wrap="none" lIns="87142" tIns="43570" rIns="87142" bIns="43570" anchorCtr="1"/>
          <a:lstStyle/>
          <a:p>
            <a:pPr defTabSz="873125" eaLnBrk="0" hangingPunct="0"/>
            <a:r>
              <a:rPr lang="cs-CZ" sz="1600" b="1" dirty="0" smtClean="0">
                <a:solidFill>
                  <a:srgbClr val="FFFFFF"/>
                </a:solidFill>
              </a:rPr>
              <a:t>Kategorie makro trendů</a:t>
            </a:r>
            <a:endParaRPr lang="cs-CZ" sz="1600" b="1" dirty="0">
              <a:solidFill>
                <a:srgbClr val="FFFFFF"/>
              </a:solidFill>
            </a:endParaRPr>
          </a:p>
        </p:txBody>
      </p:sp>
      <p:sp>
        <p:nvSpPr>
          <p:cNvPr id="20488" name="Oval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2438" y="2420888"/>
            <a:ext cx="1265237" cy="873125"/>
          </a:xfrm>
          <a:prstGeom prst="ellipse">
            <a:avLst/>
          </a:prstGeom>
          <a:solidFill>
            <a:schemeClr val="accent2"/>
          </a:solidFill>
          <a:ln w="15875" algn="ctr">
            <a:noFill/>
            <a:round/>
            <a:headEnd/>
            <a:tailEnd/>
          </a:ln>
        </p:spPr>
        <p:txBody>
          <a:bodyPr wrap="none" lIns="87142" tIns="43570" rIns="87142" bIns="43570" anchor="ctr"/>
          <a:lstStyle/>
          <a:p>
            <a:pPr algn="ctr" defTabSz="873125" eaLnBrk="0" hangingPunct="0">
              <a:lnSpc>
                <a:spcPct val="90000"/>
              </a:lnSpc>
            </a:pPr>
            <a:r>
              <a:rPr lang="cs-CZ" sz="1200" b="1" dirty="0" smtClean="0">
                <a:solidFill>
                  <a:srgbClr val="000000"/>
                </a:solidFill>
              </a:rPr>
              <a:t>Globalizace</a:t>
            </a:r>
            <a:endParaRPr lang="cs-CZ" sz="1200" b="1" dirty="0">
              <a:solidFill>
                <a:srgbClr val="000000"/>
              </a:solidFill>
            </a:endParaRPr>
          </a:p>
        </p:txBody>
      </p:sp>
      <p:sp>
        <p:nvSpPr>
          <p:cNvPr id="20490" name="Oval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225800" y="2420888"/>
            <a:ext cx="1265238" cy="873125"/>
          </a:xfrm>
          <a:prstGeom prst="ellipse">
            <a:avLst/>
          </a:prstGeom>
          <a:solidFill>
            <a:schemeClr val="accent2"/>
          </a:solidFill>
          <a:ln w="15875">
            <a:noFill/>
            <a:round/>
            <a:headEnd/>
            <a:tailEnd/>
          </a:ln>
        </p:spPr>
        <p:txBody>
          <a:bodyPr wrap="none" lIns="87142" tIns="43570" rIns="87142" bIns="43570" anchor="ctr"/>
          <a:lstStyle/>
          <a:p>
            <a:pPr algn="ctr" defTabSz="873125" eaLnBrk="0" hangingPunct="0">
              <a:lnSpc>
                <a:spcPct val="90000"/>
              </a:lnSpc>
            </a:pPr>
            <a:r>
              <a:rPr lang="cs-CZ" sz="1200" b="1" dirty="0" smtClean="0">
                <a:solidFill>
                  <a:srgbClr val="000000"/>
                </a:solidFill>
              </a:rPr>
              <a:t>Spotřební </a:t>
            </a:r>
            <a:br>
              <a:rPr lang="cs-CZ" sz="1200" b="1" dirty="0" smtClean="0">
                <a:solidFill>
                  <a:srgbClr val="000000"/>
                </a:solidFill>
              </a:rPr>
            </a:br>
            <a:r>
              <a:rPr lang="cs-CZ" sz="1200" b="1" dirty="0" smtClean="0">
                <a:solidFill>
                  <a:srgbClr val="000000"/>
                </a:solidFill>
              </a:rPr>
              <a:t>vzorce</a:t>
            </a:r>
            <a:endParaRPr lang="cs-CZ" sz="1200" b="1" dirty="0">
              <a:solidFill>
                <a:srgbClr val="000000"/>
              </a:solidFill>
            </a:endParaRPr>
          </a:p>
        </p:txBody>
      </p:sp>
      <p:sp>
        <p:nvSpPr>
          <p:cNvPr id="20491" name="Oval 1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611688" y="2420888"/>
            <a:ext cx="1265237" cy="873125"/>
          </a:xfrm>
          <a:prstGeom prst="ellipse">
            <a:avLst/>
          </a:prstGeom>
          <a:solidFill>
            <a:schemeClr val="accent2"/>
          </a:solidFill>
          <a:ln w="15875">
            <a:noFill/>
            <a:round/>
            <a:headEnd/>
            <a:tailEnd/>
          </a:ln>
        </p:spPr>
        <p:txBody>
          <a:bodyPr wrap="none" lIns="87142" tIns="43570" rIns="87142" bIns="43570" anchor="ctr"/>
          <a:lstStyle/>
          <a:p>
            <a:pPr algn="ctr" defTabSz="873125" eaLnBrk="0" hangingPunct="0">
              <a:lnSpc>
                <a:spcPct val="90000"/>
              </a:lnSpc>
            </a:pPr>
            <a:r>
              <a:rPr lang="cs-CZ" sz="1200" b="1" dirty="0" smtClean="0">
                <a:solidFill>
                  <a:srgbClr val="000000"/>
                </a:solidFill>
              </a:rPr>
              <a:t>Přírodní zdroje</a:t>
            </a:r>
            <a:br>
              <a:rPr lang="cs-CZ" sz="1200" b="1" dirty="0" smtClean="0">
                <a:solidFill>
                  <a:srgbClr val="000000"/>
                </a:solidFill>
              </a:rPr>
            </a:br>
            <a:r>
              <a:rPr lang="cs-CZ" sz="1200" b="1" dirty="0" smtClean="0">
                <a:solidFill>
                  <a:srgbClr val="000000"/>
                </a:solidFill>
              </a:rPr>
              <a:t>a </a:t>
            </a:r>
            <a:r>
              <a:rPr lang="cs-CZ" sz="1200" b="1" dirty="0" smtClean="0">
                <a:solidFill>
                  <a:srgbClr val="000000"/>
                </a:solidFill>
              </a:rPr>
              <a:t>živ. </a:t>
            </a:r>
            <a:r>
              <a:rPr lang="cs-CZ" sz="1200" b="1" dirty="0" smtClean="0">
                <a:solidFill>
                  <a:srgbClr val="000000"/>
                </a:solidFill>
              </a:rPr>
              <a:t>prostředí</a:t>
            </a:r>
            <a:endParaRPr lang="cs-CZ" sz="1200" b="1" dirty="0">
              <a:solidFill>
                <a:srgbClr val="000000"/>
              </a:solidFill>
            </a:endParaRPr>
          </a:p>
        </p:txBody>
      </p:sp>
      <p:sp>
        <p:nvSpPr>
          <p:cNvPr id="20492" name="Oval 1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999163" y="2420888"/>
            <a:ext cx="1265237" cy="873125"/>
          </a:xfrm>
          <a:prstGeom prst="ellipse">
            <a:avLst/>
          </a:prstGeom>
          <a:solidFill>
            <a:schemeClr val="accent2"/>
          </a:solidFill>
          <a:ln w="15875">
            <a:noFill/>
            <a:round/>
            <a:headEnd/>
            <a:tailEnd/>
          </a:ln>
        </p:spPr>
        <p:txBody>
          <a:bodyPr wrap="none" lIns="87142" tIns="43570" rIns="87142" bIns="43570" anchor="ctr"/>
          <a:lstStyle/>
          <a:p>
            <a:pPr algn="ctr" defTabSz="873125" eaLnBrk="0" hangingPunct="0">
              <a:lnSpc>
                <a:spcPct val="90000"/>
              </a:lnSpc>
            </a:pPr>
            <a:r>
              <a:rPr lang="cs-CZ" sz="1200" b="1" dirty="0" smtClean="0">
                <a:solidFill>
                  <a:srgbClr val="000000"/>
                </a:solidFill>
              </a:rPr>
              <a:t>Regulace </a:t>
            </a:r>
            <a:br>
              <a:rPr lang="cs-CZ" sz="1200" b="1" dirty="0" smtClean="0">
                <a:solidFill>
                  <a:srgbClr val="000000"/>
                </a:solidFill>
              </a:rPr>
            </a:br>
            <a:r>
              <a:rPr lang="cs-CZ" sz="1200" b="1" dirty="0" smtClean="0">
                <a:solidFill>
                  <a:srgbClr val="000000"/>
                </a:solidFill>
              </a:rPr>
              <a:t>a aktivismus</a:t>
            </a:r>
            <a:endParaRPr lang="cs-CZ" sz="1200" b="1" dirty="0">
              <a:solidFill>
                <a:srgbClr val="000000"/>
              </a:solidFill>
            </a:endParaRPr>
          </a:p>
        </p:txBody>
      </p:sp>
      <p:sp>
        <p:nvSpPr>
          <p:cNvPr id="20493" name="AutoShape 1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386638" y="2420888"/>
            <a:ext cx="1265237" cy="873125"/>
          </a:xfrm>
          <a:prstGeom prst="diamond">
            <a:avLst/>
          </a:prstGeom>
          <a:solidFill>
            <a:schemeClr val="accent2"/>
          </a:solidFill>
          <a:ln w="15875">
            <a:noFill/>
            <a:miter lim="800000"/>
            <a:headEnd/>
            <a:tailEnd/>
          </a:ln>
        </p:spPr>
        <p:txBody>
          <a:bodyPr wrap="none" lIns="87142" tIns="43570" rIns="87142" bIns="43570" anchor="ctr"/>
          <a:lstStyle/>
          <a:p>
            <a:pPr algn="ctr" defTabSz="873125" eaLnBrk="0" hangingPunct="0">
              <a:lnSpc>
                <a:spcPct val="90000"/>
              </a:lnSpc>
            </a:pPr>
            <a:r>
              <a:rPr lang="cs-CZ" sz="1200" b="1" dirty="0" smtClean="0">
                <a:solidFill>
                  <a:srgbClr val="000000"/>
                </a:solidFill>
              </a:rPr>
              <a:t>Divoké karty</a:t>
            </a:r>
            <a:endParaRPr lang="cs-CZ" sz="1200" b="1" dirty="0">
              <a:solidFill>
                <a:srgbClr val="000000"/>
              </a:solidFill>
            </a:endParaRPr>
          </a:p>
        </p:txBody>
      </p:sp>
      <p:sp>
        <p:nvSpPr>
          <p:cNvPr id="20494" name="Rectangle 15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50697" y="3876167"/>
            <a:ext cx="1627200" cy="973137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lIns="72009" tIns="72009" rIns="72009" bIns="72009" anchor="ctr"/>
          <a:lstStyle/>
          <a:p>
            <a:pPr algn="ctr" defTabSz="931863" eaLnBrk="0" hangingPunct="0">
              <a:lnSpc>
                <a:spcPct val="90000"/>
              </a:lnSpc>
            </a:pPr>
            <a:r>
              <a:rPr lang="cs-CZ" sz="1400" b="1" dirty="0" smtClean="0">
                <a:solidFill>
                  <a:schemeClr val="bg1"/>
                </a:solidFill>
              </a:rPr>
              <a:t>Zvětšující se, mladá, populace v rozvojových </a:t>
            </a:r>
            <a:r>
              <a:rPr lang="cs-CZ" sz="1400" b="1" dirty="0" smtClean="0">
                <a:solidFill>
                  <a:schemeClr val="bg1"/>
                </a:solidFill>
              </a:rPr>
              <a:t>zemích</a:t>
            </a:r>
            <a:r>
              <a:rPr lang="cs-CZ" sz="1400" b="1" baseline="30000" dirty="0" smtClean="0">
                <a:solidFill>
                  <a:schemeClr val="bg1"/>
                </a:solidFill>
              </a:rPr>
              <a:t>1</a:t>
            </a:r>
            <a:endParaRPr lang="cs-CZ" sz="1400" b="1" dirty="0">
              <a:solidFill>
                <a:schemeClr val="bg1"/>
              </a:solidFill>
            </a:endParaRPr>
          </a:p>
        </p:txBody>
      </p:sp>
      <p:sp>
        <p:nvSpPr>
          <p:cNvPr id="20495" name="Rectangle 1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001059" y="3876167"/>
            <a:ext cx="1627200" cy="973137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lIns="72009" tIns="72009" rIns="72009" bIns="72009" anchor="ctr"/>
          <a:lstStyle/>
          <a:p>
            <a:pPr algn="ctr" defTabSz="931863" eaLnBrk="0" hangingPunct="0">
              <a:lnSpc>
                <a:spcPct val="90000"/>
              </a:lnSpc>
            </a:pPr>
            <a:r>
              <a:rPr lang="cs-CZ" sz="1400" b="1" dirty="0" smtClean="0">
                <a:solidFill>
                  <a:schemeClr val="bg1"/>
                </a:solidFill>
              </a:rPr>
              <a:t>Stagnující, stárnoucí populace </a:t>
            </a:r>
            <a:r>
              <a:rPr lang="cs-CZ" sz="1400" b="1" dirty="0" smtClean="0">
                <a:solidFill>
                  <a:schemeClr val="bg1"/>
                </a:solidFill>
              </a:rPr>
              <a:t/>
            </a:r>
            <a:br>
              <a:rPr lang="cs-CZ" sz="1400" b="1" dirty="0" smtClean="0">
                <a:solidFill>
                  <a:schemeClr val="bg1"/>
                </a:solidFill>
              </a:rPr>
            </a:br>
            <a:r>
              <a:rPr lang="cs-CZ" sz="1400" b="1" dirty="0" smtClean="0">
                <a:solidFill>
                  <a:schemeClr val="bg1"/>
                </a:solidFill>
              </a:rPr>
              <a:t>v </a:t>
            </a:r>
            <a:r>
              <a:rPr lang="cs-CZ" sz="1400" b="1" dirty="0" smtClean="0">
                <a:solidFill>
                  <a:schemeClr val="bg1"/>
                </a:solidFill>
              </a:rPr>
              <a:t>rozvinutých </a:t>
            </a:r>
            <a:r>
              <a:rPr lang="cs-CZ" sz="1400" b="1" dirty="0" smtClean="0">
                <a:solidFill>
                  <a:schemeClr val="bg1"/>
                </a:solidFill>
              </a:rPr>
              <a:t>zemích</a:t>
            </a:r>
            <a:r>
              <a:rPr lang="cs-CZ" sz="1400" b="1" baseline="30000" dirty="0" smtClean="0">
                <a:solidFill>
                  <a:schemeClr val="bg1"/>
                </a:solidFill>
              </a:rPr>
              <a:t>2</a:t>
            </a:r>
            <a:endParaRPr lang="cs-CZ" sz="1400" b="1" baseline="30000" dirty="0">
              <a:solidFill>
                <a:schemeClr val="bg1"/>
              </a:solidFill>
            </a:endParaRPr>
          </a:p>
        </p:txBody>
      </p:sp>
      <p:sp>
        <p:nvSpPr>
          <p:cNvPr id="20508" name="Rectangle 19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508133" y="3876167"/>
            <a:ext cx="1627200" cy="973137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lIns="72009" tIns="72009" rIns="72009" bIns="72009" anchor="ctr"/>
          <a:lstStyle/>
          <a:p>
            <a:pPr algn="ctr" defTabSz="931863" eaLnBrk="0" hangingPunct="0">
              <a:lnSpc>
                <a:spcPct val="90000"/>
              </a:lnSpc>
            </a:pPr>
            <a:r>
              <a:rPr lang="cs-CZ" sz="1400" b="1" dirty="0" smtClean="0">
                <a:solidFill>
                  <a:schemeClr val="bg1"/>
                </a:solidFill>
              </a:rPr>
              <a:t>Rostoucí urbanizace</a:t>
            </a:r>
            <a:endParaRPr lang="cs-CZ" sz="1400" b="1" dirty="0">
              <a:solidFill>
                <a:schemeClr val="bg1"/>
              </a:solidFill>
            </a:endParaRPr>
          </a:p>
        </p:txBody>
      </p:sp>
      <p:sp>
        <p:nvSpPr>
          <p:cNvPr id="20506" name="Rectangle 22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7264844" y="3876167"/>
            <a:ext cx="1627200" cy="973137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lIns="72009" tIns="72009" rIns="72009" bIns="72009" anchor="ctr"/>
          <a:lstStyle/>
          <a:p>
            <a:pPr algn="ctr" defTabSz="931863" eaLnBrk="0" hangingPunct="0">
              <a:lnSpc>
                <a:spcPct val="90000"/>
              </a:lnSpc>
            </a:pPr>
            <a:r>
              <a:rPr lang="cs-CZ" sz="1400" b="1" dirty="0" smtClean="0">
                <a:solidFill>
                  <a:schemeClr val="bg1"/>
                </a:solidFill>
              </a:rPr>
              <a:t>Rozvoj rodinných struktur a role žen</a:t>
            </a:r>
            <a:endParaRPr lang="cs-CZ" sz="1400" b="1" dirty="0">
              <a:solidFill>
                <a:schemeClr val="bg1"/>
              </a:solidFill>
            </a:endParaRPr>
          </a:p>
        </p:txBody>
      </p:sp>
      <p:sp>
        <p:nvSpPr>
          <p:cNvPr id="20498" name="Text Box 23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039330" y="3501008"/>
            <a:ext cx="1128514" cy="2462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2813">
              <a:buClr>
                <a:srgbClr val="FFFFFF"/>
              </a:buClr>
              <a:buSzPct val="120000"/>
            </a:pPr>
            <a:r>
              <a:rPr lang="cs-CZ" sz="1600" b="1" dirty="0" smtClean="0"/>
              <a:t>Demografie</a:t>
            </a:r>
            <a:endParaRPr lang="cs-CZ" sz="1600" b="1" dirty="0"/>
          </a:p>
        </p:txBody>
      </p:sp>
      <p:sp>
        <p:nvSpPr>
          <p:cNvPr id="20503" name="Rectangle 25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757771" y="3876167"/>
            <a:ext cx="1627200" cy="973137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lIns="72009" tIns="72009" rIns="72009" bIns="72009" anchor="ctr"/>
          <a:lstStyle/>
          <a:p>
            <a:pPr algn="ctr" defTabSz="931863" eaLnBrk="0" hangingPunct="0">
              <a:lnSpc>
                <a:spcPct val="90000"/>
              </a:lnSpc>
            </a:pPr>
            <a:r>
              <a:rPr lang="cs-CZ" sz="1400" b="1" dirty="0" smtClean="0">
                <a:solidFill>
                  <a:schemeClr val="bg1"/>
                </a:solidFill>
              </a:rPr>
              <a:t>Rostoucí migrace</a:t>
            </a:r>
            <a:endParaRPr lang="cs-CZ" sz="1400" b="1" dirty="0">
              <a:solidFill>
                <a:schemeClr val="bg1"/>
              </a:solidFill>
            </a:endParaRPr>
          </a:p>
        </p:txBody>
      </p:sp>
      <p:sp>
        <p:nvSpPr>
          <p:cNvPr id="20500" name="Rectangle 27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45110" y="6368288"/>
            <a:ext cx="6400800" cy="3683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marL="137160" indent="-137160" defTabSz="912813" eaLnBrk="0" hangingPunct="0">
              <a:lnSpc>
                <a:spcPct val="90000"/>
              </a:lnSpc>
              <a:buFontTx/>
              <a:buAutoNum type="arabicPeriod"/>
            </a:pPr>
            <a:r>
              <a:rPr lang="cs-CZ" sz="800" dirty="0" smtClean="0">
                <a:latin typeface="Arial"/>
              </a:rPr>
              <a:t>Výjimka: Populace Číny, jež je stále ještě mladá ale zároveň, </a:t>
            </a:r>
            <a:r>
              <a:rPr lang="cs-CZ" sz="800" dirty="0" smtClean="0">
                <a:latin typeface="Arial"/>
              </a:rPr>
              <a:t>rychle stárnoucí </a:t>
            </a:r>
            <a:r>
              <a:rPr lang="cs-CZ" sz="800" dirty="0" smtClean="0">
                <a:latin typeface="Arial"/>
              </a:rPr>
              <a:t>díky její politice jednoho dítěte </a:t>
            </a:r>
          </a:p>
          <a:p>
            <a:pPr marL="137160" indent="-137160" defTabSz="912813" eaLnBrk="0" hangingPunct="0">
              <a:lnSpc>
                <a:spcPct val="90000"/>
              </a:lnSpc>
              <a:buFontTx/>
              <a:buAutoNum type="arabicPeriod"/>
            </a:pPr>
            <a:r>
              <a:rPr lang="cs-CZ" sz="800" dirty="0" smtClean="0">
                <a:latin typeface="Arial"/>
              </a:rPr>
              <a:t>Výjimka: Zatímco populace USA stárne, její počet bude nadále narůstat z důvodu pokračující imigrace </a:t>
            </a:r>
          </a:p>
          <a:p>
            <a:pPr defTabSz="912813" eaLnBrk="0" hangingPunct="0">
              <a:lnSpc>
                <a:spcPct val="90000"/>
              </a:lnSpc>
            </a:pPr>
            <a:r>
              <a:rPr lang="cs-CZ" sz="800" dirty="0" smtClean="0">
                <a:latin typeface="Arial"/>
              </a:rPr>
              <a:t>Zdroj</a:t>
            </a:r>
            <a:r>
              <a:rPr lang="cs-CZ" sz="800" dirty="0" smtClean="0">
                <a:latin typeface="Arial"/>
              </a:rPr>
              <a:t>: A.T</a:t>
            </a:r>
            <a:r>
              <a:rPr lang="cs-CZ" sz="800" dirty="0" smtClean="0">
                <a:latin typeface="Arial"/>
              </a:rPr>
              <a:t>. Kearney Global Business Policy Council</a:t>
            </a:r>
            <a:endParaRPr lang="cs-CZ" sz="800" dirty="0">
              <a:latin typeface="Arial"/>
            </a:endParaRPr>
          </a:p>
        </p:txBody>
      </p:sp>
      <p:sp>
        <p:nvSpPr>
          <p:cNvPr id="20501" name="Rectangle 28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244475" y="1628140"/>
            <a:ext cx="6842760" cy="24929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 algn="ctr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895350" eaLnBrk="0" hangingPunct="0">
              <a:lnSpc>
                <a:spcPct val="90000"/>
              </a:lnSpc>
              <a:buClr>
                <a:srgbClr val="FFFFFF"/>
              </a:buClr>
            </a:pPr>
            <a:r>
              <a:rPr lang="cs-CZ" b="1" dirty="0" smtClean="0">
                <a:latin typeface="Arial"/>
              </a:rPr>
              <a:t>Globální makro trendy</a:t>
            </a:r>
            <a:endParaRPr lang="cs-CZ" b="1" dirty="0">
              <a:latin typeface="Arial"/>
            </a:endParaRPr>
          </a:p>
        </p:txBody>
      </p:sp>
      <p:sp>
        <p:nvSpPr>
          <p:cNvPr id="25" name="Oval 24"/>
          <p:cNvSpPr/>
          <p:nvPr>
            <p:custDataLst>
              <p:tags r:id="rId19"/>
            </p:custDataLst>
          </p:nvPr>
        </p:nvSpPr>
        <p:spPr>
          <a:xfrm>
            <a:off x="246380" y="804672"/>
            <a:ext cx="279400" cy="279400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cs-CZ" sz="1600" b="1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1</a:t>
            </a:r>
          </a:p>
        </p:txBody>
      </p:sp>
      <p:sp>
        <p:nvSpPr>
          <p:cNvPr id="3" name="Isosceles Triangle 2"/>
          <p:cNvSpPr/>
          <p:nvPr>
            <p:custDataLst>
              <p:tags r:id="rId20"/>
            </p:custDataLst>
          </p:nvPr>
        </p:nvSpPr>
        <p:spPr>
          <a:xfrm>
            <a:off x="250825" y="3176972"/>
            <a:ext cx="8642350" cy="699195"/>
          </a:xfrm>
          <a:prstGeom prst="triangle">
            <a:avLst>
              <a:gd name="adj" fmla="val 24166"/>
            </a:avLst>
          </a:prstGeom>
          <a:solidFill>
            <a:schemeClr val="tx2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489" name="Oval 10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839913" y="2420888"/>
            <a:ext cx="1263650" cy="873125"/>
          </a:xfrm>
          <a:prstGeom prst="ellipse">
            <a:avLst/>
          </a:prstGeom>
          <a:solidFill>
            <a:schemeClr val="bg2"/>
          </a:solidFill>
          <a:ln w="6350" algn="ctr">
            <a:solidFill>
              <a:srgbClr val="ADABA1"/>
            </a:solidFill>
            <a:round/>
            <a:headEnd/>
            <a:tailEnd/>
          </a:ln>
        </p:spPr>
        <p:txBody>
          <a:bodyPr wrap="none" lIns="87142" tIns="43570" rIns="87142" bIns="43570" anchor="ctr"/>
          <a:lstStyle/>
          <a:p>
            <a:pPr algn="ctr" defTabSz="873125" eaLnBrk="0" hangingPunct="0">
              <a:lnSpc>
                <a:spcPct val="90000"/>
              </a:lnSpc>
            </a:pPr>
            <a:r>
              <a:rPr lang="cs-CZ" sz="1200" b="1" dirty="0" smtClean="0">
                <a:solidFill>
                  <a:schemeClr val="bg1"/>
                </a:solidFill>
              </a:rPr>
              <a:t>Demografie</a:t>
            </a:r>
            <a:endParaRPr lang="cs-CZ" sz="1200" b="1" dirty="0">
              <a:solidFill>
                <a:schemeClr val="bg1"/>
              </a:solidFill>
            </a:endParaRPr>
          </a:p>
        </p:txBody>
      </p:sp>
      <p:pic>
        <p:nvPicPr>
          <p:cNvPr id="114695" name="Picture 7" descr="ATK Thinkstock Library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1059" y="4904539"/>
            <a:ext cx="1627200" cy="1080575"/>
          </a:xfrm>
          <a:prstGeom prst="rect">
            <a:avLst/>
          </a:prstGeom>
          <a:noFill/>
          <a:ln>
            <a:noFill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696" name="Picture 8" descr="ATK Thinkstock Library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7771" y="4904539"/>
            <a:ext cx="1627200" cy="1085861"/>
          </a:xfrm>
          <a:prstGeom prst="rect">
            <a:avLst/>
          </a:prstGeom>
          <a:noFill/>
          <a:ln>
            <a:noFill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697" name="Picture 9" descr="ATK Thinkstock Library"/>
          <p:cNvPicPr>
            <a:picLocks noChangeAspect="1" noChangeArrowheads="1"/>
          </p:cNvPicPr>
          <p:nvPr/>
        </p:nvPicPr>
        <p:blipFill>
          <a:blip r:embed="rId28">
            <a:extLst>
              <a:ext uri="{BEBA8EAE-BF5A-486C-A8C5-ECC9F3942E4B}">
                <a14:imgProps xmlns:a14="http://schemas.microsoft.com/office/drawing/2010/main">
                  <a14:imgLayer r:embed="rId29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33" y="4904539"/>
            <a:ext cx="1627200" cy="1080575"/>
          </a:xfrm>
          <a:prstGeom prst="rect">
            <a:avLst/>
          </a:prstGeom>
          <a:noFill/>
          <a:ln>
            <a:noFill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704" name="Picture 16" descr="ATK Thinkstock Library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427" y="4904539"/>
            <a:ext cx="1622425" cy="1096962"/>
          </a:xfrm>
          <a:prstGeom prst="rect">
            <a:avLst/>
          </a:prstGeom>
          <a:noFill/>
          <a:ln>
            <a:noFill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705" name="Picture 17" descr="ATK Thinkstock Library"/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4844" y="4904539"/>
            <a:ext cx="1630363" cy="1082675"/>
          </a:xfrm>
          <a:prstGeom prst="rect">
            <a:avLst/>
          </a:prstGeom>
          <a:noFill/>
          <a:ln>
            <a:noFill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856761" y="1628140"/>
            <a:ext cx="1034067" cy="302968"/>
          </a:xfrm>
          <a:prstGeom prst="rect">
            <a:avLst/>
          </a:prstGeom>
          <a:solidFill>
            <a:schemeClr val="accent2"/>
          </a:solidFill>
          <a:ln w="6350" cap="flat">
            <a:noFill/>
            <a:miter lim="800000"/>
          </a:ln>
        </p:spPr>
        <p:txBody>
          <a:bodyPr vert="horz" wrap="none" lIns="108014" tIns="54007" rIns="108014" bIns="54007" rtlCol="0" anchor="t" anchorCtr="0">
            <a:sp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cs-CZ" sz="1400" dirty="0" smtClean="0">
                <a:solidFill>
                  <a:schemeClr val="accent4"/>
                </a:solidFill>
                <a:latin typeface="Arial"/>
                <a:cs typeface="Arial"/>
              </a:rPr>
              <a:t>Ilustrativní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621358" y="139700"/>
            <a:ext cx="1271182" cy="1661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cs-CZ" sz="1200" dirty="0" smtClean="0">
                <a:latin typeface="Arial"/>
              </a:rPr>
              <a:t>Faktor úspěchu </a:t>
            </a:r>
            <a:r>
              <a:rPr lang="en-US" sz="1200" dirty="0" smtClean="0">
                <a:latin typeface="Arial"/>
              </a:rPr>
              <a:t>#</a:t>
            </a:r>
            <a:r>
              <a:rPr lang="cs-CZ" sz="1200" dirty="0" smtClean="0">
                <a:latin typeface="Arial"/>
              </a:rPr>
              <a:t>1</a:t>
            </a:r>
            <a:endParaRPr lang="cs-CZ" sz="1200" dirty="0" smtClean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41446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44800" y="1627632"/>
            <a:ext cx="8646287" cy="1661993"/>
          </a:xfrm>
        </p:spPr>
        <p:txBody>
          <a:bodyPr/>
          <a:lstStyle/>
          <a:p>
            <a:r>
              <a:rPr lang="cs-CZ" b="1" dirty="0" smtClean="0">
                <a:solidFill>
                  <a:schemeClr val="bg2"/>
                </a:solidFill>
              </a:rPr>
              <a:t>Faktor úspěchu #2: </a:t>
            </a:r>
            <a:r>
              <a:rPr lang="cs-CZ" dirty="0" smtClean="0"/>
              <a:t>Lídři v inovacích …</a:t>
            </a:r>
            <a:br>
              <a:rPr lang="cs-CZ" dirty="0" smtClean="0"/>
            </a:b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… využívají porozumění </a:t>
            </a:r>
            <a:r>
              <a:rPr lang="cs-CZ" dirty="0" smtClean="0"/>
              <a:t>tržní </a:t>
            </a:r>
            <a:r>
              <a:rPr lang="cs-CZ" dirty="0" smtClean="0"/>
              <a:t>a </a:t>
            </a:r>
            <a:r>
              <a:rPr lang="cs-CZ" dirty="0" smtClean="0"/>
              <a:t>technologické dynamice </a:t>
            </a:r>
            <a:br>
              <a:rPr lang="cs-CZ" dirty="0" smtClean="0"/>
            </a:br>
            <a:r>
              <a:rPr lang="cs-CZ" dirty="0" smtClean="0"/>
              <a:t>pro </a:t>
            </a:r>
            <a:r>
              <a:rPr lang="cs-CZ" dirty="0" smtClean="0"/>
              <a:t>nalezení správných směrů </a:t>
            </a:r>
            <a:r>
              <a:rPr lang="cs-CZ" dirty="0" smtClean="0"/>
              <a:t>v </a:t>
            </a:r>
            <a:r>
              <a:rPr lang="cs-CZ" dirty="0" smtClean="0"/>
              <a:t>hledání inovací. Díky tomu neinvestují do inovací více, ale lépe. </a:t>
            </a:r>
            <a:endParaRPr lang="cs-CZ" dirty="0"/>
          </a:p>
        </p:txBody>
      </p:sp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7135" y="486358"/>
            <a:ext cx="1898740" cy="926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9801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4&quot;/&gt;&lt;elem&gt;&lt;m_nPartnerID val=&quot;556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215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PsyAflaEGFJun6mwL3r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Q9kyyp8E.la4DXSaRtc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1qH7a6bk2E6K2LT3e5q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n6Ha8oeEOv25rDYVwNj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xvf_QO70ezB.Agx39sG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aqwAzWIEm4Psm_vF8TP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FCRF2jKUGuuraTw3RRY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eC7sGlIkSHSxcwZ80Ax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pk_9HD7kKV5tSe7DtYH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rH45Va90GygmsuKRi6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5STfpqNUeBgrSQ3exi0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Eqi_ypkkakaDSUd3fu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MQbITtb0Otrj_5vDIQB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Gy3wtAtEyv.XUCW9k0G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K_za34_EuEGm4qTRuNC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aPTWau80KV5i33Qmtgc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VB7r.f60SXFWYSN6sk5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KygUpKxk68ckw6wCFKU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OStNKeT0KcciI5ZqRm5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e0r.0roEWLBHiLo7cy.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t.bh3Qf0CAb3joF.kV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AVAOMzS0qak3Pvzg.7a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VsYXNTvkyvICHFgTXYM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YZqg7ArUWj6AQHm2yS2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4dylsFEUyNDoWV5.1Lu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dOCEidEEe5BWOyXJLFJ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3n_O3Q4E.mabM2DJNNW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YoWPf5.kOzCo0GutI4C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24HtpRPUePIBtQ4MRt4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wtXIlM20S2OP4MnzVrx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7nulF2A0itAMHPUWpG8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erf.g10EeDiZQgS48u0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qCdSJgukWO4E__WLc.E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WtzFTpU0STjFLu_nj6S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UmDbQNDEOaX7DNZKrb_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9f24xUeU2_Wm3Z9D1Gc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S2Lmb4.E.Jvz0qBxrKm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Q8EAFFUyN4uGyluFTJ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yCK5AQcEyY8aLuDVz9e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z7W_ymu0euvwVcMehrz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WAz9oqLEuDR.38pm5V_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DroK.YRU6fCpjAgeIT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YCZzYIME.z28wQZNbBt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T8qkeXsECyAipxGf0p0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TiSwkkQkKn6il7lRma8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ZG67cE10qdr6GWXlgiy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.PKR_kakGWk5zsa2LFE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BFU_GnHkOWrbxWjHIuU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p1DCqs0ki0QEjuhK5Kb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aB21Q.LUS7fPGF07uUu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9.cN8gTEm2iti2y_Ndv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gJmb48EkKG5W4BL2g7.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4MEAhKx0GAeoNfOeuIs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dX3odplEGHNJEX0dNGj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vww6AfiUqEiMX3pfyuq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swtGN_Z0.nPkOFdI4R9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u2Ah3Ef0GXXgQEorCnB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9g.wqJXEGjm6EUbekgp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WKK6T12UqCPwHYpTqtv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a9rUbsa0CwRAp1nmVp9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Wm2KTUJEOEfeV_9zWk2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TOQPY3k6eRWDKTMMp5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D7rpuX3ESv2EMKOH7xx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tOzy7Py0KNmAh5uqAnK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wrJuxdAkKcnjcas6rfo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pm99BwZ0mVFaJK7veuQ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7nulF2A0itAMHPUWpG8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8DjOzBdE.UOw9HK8FCh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_SCugJLEkGC6kixA.miL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C5dzo4hEaJjn7HMke9E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_Zkzg4y0SXI2OFNf9dw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bhEPgLy0GTdr_Tt9Y7p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kGWmH.1EWv.2hm5Bp5.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DUbJXCGEe3iLJF3fdxT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afye2tlkCpVa94AACa8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kKY6Qq0ql8HGdd4IGe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qDg3yc1EqtKSDW_eXIq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FdcBqpdUSEJu.rPNFgG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KA2RQR9U.iu66BFuQIx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r48MfREipZK0CnM9mA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jd0Qqx9EajbbQzQ2Nap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f9NJPg1UCswt4Zz0RX6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vVXnV0tEqGM5SAFN6V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3KfbS3Bk.n4qBiBj2N2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sXMqOPGkuIbe5cDyRGh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FSNVO2G0K.Cz3MWKXkZ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eClMoxBkG6jcCoQr1.h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TRCKKQXEGQTOYRl6ei9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MrMWwc7E65Xs7M0XrzO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Xl_tccO0WDHGKPxxNbT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hVxQf2xEeu2R4.JGOrQ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XzhBs2q0m4DGiBZB7kM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Cwhs730EOvSeN9XNth_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wt8jsrbU2mJbxfbcLU4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yi2yBX4kWBfrmZTeHLB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LkS_H.CkCXQjP8hxvjl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8dNYUxYUWVehFDExI9b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AFX5uDDUCkhmp3lVXIB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baravou06IVuD4z7LTP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Y8WmApgEmoxeUTZhQdz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tS3eWvEWuFKHWhBr51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yCgeYFOEOWmbkZKCMlF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PfxlkyPEyhQE62kEPjg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iHYO8joU2jWrSj3M5lH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GneNedp0ib1GsLfRJr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xw7Q_1Rkutcgbx4BD0H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FmdLAvRkmX2y_J3nGcJ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dpfdrJ9k21blESsuQCd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7I3i6800q4K3evGGcV9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90pxL8kEONZS9B70dDR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zz4aRe.k2sKbCI5RKMl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UoMX7EskGZcnThkcVcW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CqJr1f9E6ulBg1I1NCA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G0nzl63UyUYuiKd7FNH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YdPTUbx0.AVonVskvwI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vDmhAao0GjHHwQrmQc3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2LZ.UYIU.dYeroZ33fK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4Nv0Jub0GcfPeHf3HAU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TVRI2MJ0CQ_0JjP.3YP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B1SzKR00Wnxyr0nEU._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Z5vuh50UaZ0VrVA9jPk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XIkD2eQUaG.IGhu_OZr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2GsCu_DEehcBXRh5R0b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9UclkzjECfrMZBQ357Q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Gv1Hvh0WepkDGJnDiS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oOYD5nFE2HdDm82MTi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ycsieZVUuEBTaCjQSSe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5KX1hV7kaUFb3MniqGe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KDM6_iv0yGmyL9ub_Ch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WjYGKru0q3fQ.zzMB7K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kQuxtFY0mgitLfHdVae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bRVcapq0Gjf7vEXl6lg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EBpAOzhEynDLjBU36BI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dA02UnLkqAtgt9NWAie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7nulF2A0itAMHPUWpG8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a9b_W.70eZQ5MoUjNIx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fdM6kn8EGoDYw3dD26f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LkE1HQnEm8lhe_fzIjw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2JDkCseUOFY28jZp_i1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mboLSZ7EilmZzrHO6Y1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OSET3c.UOBuVGpX4UTC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1OAeWIUkatcxiEB8q9T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5bw.9qIUON0PbhNXhso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EH5zlKvkuvrO13qTONJ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_SLTH94UOmM2K2eTm7p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SoGILuikizto.uYRgCs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rSHxbcHkuGQOoM7XWS9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1rYoMwykeG81JJyN_Xb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TtsZ_RTUafHGS8b.EO7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DstAPeu0Sql97qD9afZ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qVcE8dUkioMcHDN471Q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OLwJr0tEy6n3eOlWsHy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c.Tc4IXEKgeGFel308C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v6wDWa8UqJruE1t5zE0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5UENNizEelctxJfQ0xv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ptRpPWD0KTqAMUK2dAU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0_Ea71nEumEjrJ9XnN1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PPWnusqkmAOADm6kf.K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jI1Rye.0inW4C2sormK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tnfbCduEaHTRSl75Uz8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RmedhzDUSEJXkWmW73V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8SdYrJNkmygKWN8ta2m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9MuoEFZ0ieU.pCkjnv3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9iemGyi0u7rnNW3NGiE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2mmqu8m0ytlsH0YCS2F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srrcthJUeVctvY4ZEr4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VvZWXYY0OFTSHT7UeK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OiYCj41EqaezyTdDOXs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C1e_xzGUKUWNYohsgHX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QvuD0dpEue5_Ed06sMH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UoO1DR6UKH2xkx2iBbX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R9Sdi6iUOst.J2NgXv.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GcODFiBkOhW2BneJhwW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YLsK0i2Um9sJxCpda3O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pecs1e00yYV1VSpFxuC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jUgMmXUywZNOfZAALh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tnKoabTkm_wLub712yr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b_Lt6S0qJ_JYmeSkE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F.1u6aeUWghSvaVqHRX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rGpHAmykyt1x12PAq3v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2XAnvo2EqXCFKVLI1hv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wPHSDvXEWhvjU2vO9HK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2sWMZOIkOVbRu0qwjNF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Ncf1mgo0WPgXTTuyUAv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0QV4uFbUu5JUsGNCTQR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tnfbCduEaHTRSl75Uz8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UoO1DR6UKH2xkx2iBbX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VvZWXYY0OFTSHT7UeKJ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tnfbCduEaHTRSl75Uz8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HTCxiQ3UCGPa1uYhRWa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tnfbCduEaHTRSl75Uz8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SoGILuikizto.uYRgCs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EH5zlKvkuvrO13qTONJ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7nulF2A0itAMHPUWpG8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ITqt9lEUWa4uCkID2Xr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4UV7uutEelcpVsMNoUr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IrWBLbCUK6Te5bukbiO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Kkl1B1b0qI8KuyF7Zww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LHCfPN6UOewK4NWWdL3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A0rWE3Ukm.wN7R2umcD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NlA_1pd0qSg38z67UeX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PM.dpRi0u9k7ZEaXC8U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AQNn3c8USvBiGmyDDIv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ccuw.dykWrtuUsVqlTu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EtEBV4dUuBjDYENhnVe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Nelnunc0SVd2AH5Ogq.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7zNGUmfkuv9hoCjlL4L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S62JdgMEWRplkY44jvv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m8mZkZeEaRBE_AJGAPf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nSNzuEikWQAp6mNBw7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2G3wVaIk.ar_nxdfVxy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.eV5Rtw0mFgeAW9fW7e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gRMGPlk0ePp8R2n0DVu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lclps4lkakNhNQOoP2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.g04Kwgk2fl5wJVT7lQ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xbslXJTEKoVmVIq6RVV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gCzL0WS0WMwKZEd3ux3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MstcpdYkWgJZyEZ8bYi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p7tDd3zEOmJoyWCLeT7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9yVC4jS0.z_W2ua_kp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ctTbZzI0aT4ymnI1h4P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DexcmiK0Kq1Q.3WutzL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GKAGiOOUuzZuexC7_OE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3uYVl0Ek2hsC_DOwzlQ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x9tL1IwEmDsZJffnNbu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fA2nma5EOKaLYJp_Lbg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.B3ILxHUWaDzYGv62aY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_zgpXc3Ue0t.MIh7P.d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UWinuspEiKR2ie7QjEA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WW00inEiLh8PynlGSp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w7N0OoYUiBg3qpTYKK.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aAJPZwe06cP1KFXcvWO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hDBW8DU0WMsUHEK5oLb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6kgQjpXE27SRIKqm30t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QNfh88a0yYLEeEeFP5_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apWNWBykOy6L8NtChid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9TXDXtFUm_dSyFCLlrL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MQvTiEWUyXrYxJ.CVR4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L69zzT8UyYgAZ6avGdm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rD3OpqCkq_0dVftwyop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mj1COL4ESbScWwoE0LY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F6EIwVC06eiy4mqmJ8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czUfaabEa_bOXyhL1u3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AfB5ksiUqiSGprX8i2V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MBQwX39U.tbZ2ClQQPZ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RC9rJLpEeU1yG7c1YUz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45mEByfEyOFJ_enLAt2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m42I5.M0KHqwu8_sFMA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m3lwdyZk21IuGNJSjI0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U6Xc6fuU2aHPAuSDEPb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qD3rKvn0iu3OgP2H0sH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TFTCCDYk.fcXkw6UEpN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Pbb_X0EEagl3lw_JpMe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hdS.HeSUGtffGdE4PKi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cQPMetvkK8R5.jfCyMs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Mey0cTSEGXLTtE_7Jy7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hO6GFwUec3rxt5fI1i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RsOY5o1U6gu7m1EFUqT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ysdMxCsEGAY9LNjwo3D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4WbJVKZEyrvh.P.hRRM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e_zFTGg0SBD5xXNRtK_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4DllVoEUSexkV0Aa0zh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plQxrSkuuAG_UMzjZ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VuoA9aGkq1btpUW6ft1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.JPgYHZkycT9ABacTDL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dNiw5L90S4ULt2X.IMO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Gg4JlRtEiiis1IbLQDF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nA3ODVpESFAgTsozy2.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Hx3zau5E2tclO1X4bIJ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X7z.5tUUG2UAFpa9LiA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TbbK3s_UOjGvNvd557D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2gBh2dOUGGmCe74_6wY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FvZSc6QEqSlulz0OhE3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WUdxzAeku42032fwpp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5wFP8vQUqpQfD2P8xT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Vwtq9KyU.BszZ2DBVb6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NbIdTwtECVv3Cru0AAz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OQzfX0G02banM0f05_y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L3bXym00as8XuA0kHmI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cJ.br53kKaY1zR_KnRQ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L2qvkO4U.39dQAEyWez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ZSMYlIwkCB3mCL3Aeh6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GQ9D2xZEyIxIcmc2zIT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1FQyQpVUmt0dL7FIHEE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keiUMmUUWeStU1UzVv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vgmY7gGkGh6HdWm_dcZ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8m85vU_EafC9qKr.yBa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OV4KcdCUOQTdRCzaEgt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hns7mNyESTzoDWApBmP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HG0W5TdEGkG0txxVMUL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BhXqBv5EO76B286Dtow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qSdmmJAkOJkfFMHIR0L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k82tCgvEiOOZz8rWgwG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Huz7yM90uUcd0jFM2sh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VcXLs7YU6TuDFJ9157U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yzHzmYxEyOj_.SIdBt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GiFhFVaUiw3Y2iBQOCK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xx.mvQMk6dFqEpAuPNE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Gq.feq1EiTfpw7hY.MK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fd2_lldUeJwdTKryV0v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.LztyC_Ump80eLmpy0.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jvi6WaoUy5uSEa4PahV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XTfwY04E6.aQdr2TNXv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pP64ncAkqA5Gh202Mnu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vRE.qyaEuDvvdU5JPAd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CGcucqAUmSqFGkGydr5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X0ax9RdUmzPtROQlyJn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qxTSdcnEa8kJfS8WTBx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LoJ2g7JU6.GetsEQO6N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.dxSxq5UKT2H5sTv8H2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c3jkOff0m4.HY68vfrh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Qq7UK8tk6qo0kJtqbYE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fKk_1efE25mKvkBKpY0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RbP5iXWkS2T5MT9HI.t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SWbhlU3kOL4lVltzNt9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b0zoHRtkWbZ6sSLl0Im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cF1_h9BUeBOjAjXCPTL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l4E1cVw0.2eNYEdYbB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eK1G_cnEaWuDTIJRq3d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c7WwrNS029SuGoNmfBH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092LoHr0KYhWCftjklM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2zDGyMsUOqLfND4K12F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Q.Tv25sUCqbfXR8HnLo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uae3nY10CtPyx7_z.1L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eIFdXgoE2271R47iWVt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vLdH8LC0WIFjgnvfjh4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t0x7tveUSg06XOExam4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V1GNlwF0W8Zip.Stat1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fFHQ3ZC0._YthS6cwRh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Gsqb3zHECYFNyPcYFx4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7nulF2A0itAMHPUWpG8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Afc5bWXkGvGDikV49ma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KlzreS50SsZmmAMXo_5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jo0PeXVEmeT2CTqW.CU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3BhJ52wkupA.sQDcfyP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BbigwTpU61HAx8YiFqW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11ShPla0C1IfqYDIcKF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vVVBmqHUWvxj2moE8zC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3VjYu0wEK4gC98sKKx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hVowuiWkiEzwjKFbjGh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GXrByev0q6uGQPcjol4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uSZMPMQ0aFsjRCXwlog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kSUako9EKQ2VxAaGjmd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C6gcIYk0S5Ey3uuxy91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oV2I2BlUeoxQKWoulTA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g2LrA.oUW4uF1NdAEU4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Ps0D_ClEyCLtM0CmpQ_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4L2i2CT0qAzdk_STMfr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rq13V4gEar967R7fkfZ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Uydj6u9EWDPQPh.UTUA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.ejgdUn02JifVZ0KrDz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jpn3urKkiSJp7IiuekY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WDlQbu.EOzFzSCeQsJ9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RACnUoIUKVR2qzpAMQC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hes9Rv8kylP4FLe1fCW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tR4C2AkusNhdwNh_AQ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XUBt7kPkO4yRsvca144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6Rz7ZiU2zkTIlkvRKv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gyW55feUaLHii.jWR26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MRf6lRbkylMACxvYQVD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yYHm40zUiEmzmamH7c.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aiX2jYXEGUsvogiAt0Y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BtKUYSMk.13qBhNWI_2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Q3bXnKukKyJwrL6uMny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3UVpppMka701eTRuWta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Aiqcro_kimr8Xq2berE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.iS8sLykusYKG7q_7y5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O6j0quvkalpSngmFYdG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DUCWyMRkCRGj7HWVGqB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3rVtpWtUum7DllQgTb.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ZseV_j00CFkuHlL2L.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qFbhPkyEmIzZlKAen.v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Fgal8PBkKMIgpM6rmNR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dLyjWYl02VWNYJ36U1d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14h3O_fkqZ9zfRcuSpW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akDBXsb0.oUpuB_PWxW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.TCy7vCUa4yo2un11V7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qDgw50H0ml4HJtoKhpe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3qY_7R10S55w0E8xNF5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fllKijOE6FdxxWIqf14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Y_whgGIUaT2z5.TTV38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8uXC3rz0yrNZ2kkX9QL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ZH9bHj4Em75R6tTyt1p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FFvfaOFUGiN5LPPhCFu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pzXfc0aUCZFqxkHF22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1D4ZQWGkqk1BBUEPwJI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bqRtqJ0UCMI2p5zf1bm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.cNnIgO0.gDo_NgSqT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NZSMioz0CkkJMyx7qPf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SSHczehE.gBBt20oEd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ZgdFvErkSHE9aB4TpW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ii.D_zPkyjiIDV007iW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rHa6JRJ06y7_2dT6KaC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F16Z4wjUKzvVyAUWUU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A9URd_oU6t1PJS35Khb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nistRssEKvpOTaHL5Yp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zD_a80K0a97M2kUibit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UHqFdXPkKbwTWFbHhd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8LYRRH2021XctTvN_ch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RK4ib2lkSG..V3wWd._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rrRHqRzUG.ccHw6n7N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rZ2W4gck28joplME72h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d3bfYoZEmNy3exOCekc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g.pHgllUmpAAKYkW2x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thZngzJ0iIZ5m7eA22s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Jbnl9j.0.ttTfsHd0Tm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Jbnl9j.0.ttTfsHd0Tm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Jbnl9j.0.ttTfsHd0T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Jbnl9j.0.ttTfsHd0Tm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Jbnl9j.0.ttTfsHd0Tm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zHllVbakCqL9mUvI2Ih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R22dv460.qpALHFjUkE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Rbz8jCskaRD3iF0fkVv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l2QTi1EEKrDf1YE9hET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NdL0ZNkC2i9P8otLP_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rfGqJKTUylViSAB9I0n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W_r68Nr0eMP_Cx.oVFA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gZQsbAwUyEZ6Yp_KuQ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DdYvlP1025K41Idy7rL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4vqdiBUECW3dlqo.Ye0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b_k.uFQUam1AhhdTXTc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jOfejdFEeCVoFzT8qm8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n0OPNW7E25FOsmYXylg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EFTHIUpk2HRPGyqd0mK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7g_cGAGkeEE.S_Rgq_B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FL.ydrqkGIxQKZCuK55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ngPfLAvUK26_W6GFGU5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_mWus850Wc_7PXh0dA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lr.ZXSIkWsQb.mpxyx_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Pk8bea00OvNvMjaIrPs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s3Ge4puUieHWUdbhTob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lXKTsXQU2OMPSQXJqu.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7nulF2A0itAMHPUWpG8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llsEDsO0CkJANGoX9nQ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6tU8GQBkykhZz26ahZc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LuJL1M3kGT73RzJdo1R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x77xidJkmHC2GShvyU2w"/>
</p:tagLst>
</file>

<file path=ppt/theme/theme1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42</Words>
  <Application>Microsoft Office PowerPoint</Application>
  <PresentationFormat>On-screen Show (4:3)</PresentationFormat>
  <Paragraphs>374</Paragraphs>
  <Slides>24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4</vt:i4>
      </vt:variant>
    </vt:vector>
  </HeadingPairs>
  <TitlesOfParts>
    <vt:vector size="28" baseType="lpstr">
      <vt:lpstr>Blank</vt:lpstr>
      <vt:lpstr>think-cell Slide</vt:lpstr>
      <vt:lpstr>Microsoft Graph Chart</vt:lpstr>
      <vt:lpstr>Chart</vt:lpstr>
      <vt:lpstr>Nejlepší řízení inovací jako cesta k ziskovému růstu – 6 faktorů úspěchu</vt:lpstr>
      <vt:lpstr>A.T. Kearney se systematicky věnuje vyhodnocování nejlepších praxí v řízení inovací již od roku 2003</vt:lpstr>
      <vt:lpstr>Nejlepší inovátoři vykazují dlouhodobě lepší výsledky než  s nimi srovnatelné společnosti</vt:lpstr>
      <vt:lpstr>Lídři v inovacích se nesoustředí pouze na inovaci produktů, ale také na inovaci svých procesů, služeb a obchodního modelu</vt:lpstr>
      <vt:lpstr>Přední inovátoři navíc systematicky adresují všechny oblasti napříč životním cyklem inovace</vt:lpstr>
      <vt:lpstr>Faktor úspěchu #1: Lídři v inovacích …  … věnují více pozornosti analýze tržního a technologického vývoje za účelem porozumění budoucích výzev a příležitostí.  To jim umožňuje efektivní rozhodování. </vt:lpstr>
      <vt:lpstr>Vítězové Best Innovator systematicky analyzují světové trhy a technologické trendy za účelem efektivního rozhodování</vt:lpstr>
      <vt:lpstr>Lídři v inovacích chápou dopady makro trendů do jejich vlastního businessu</vt:lpstr>
      <vt:lpstr>Faktor úspěchu #2: Lídři v inovacích …  … využívají porozumění tržní a technologické dynamice  pro nalezení správných směrů v hledání inovací. Díky tomu neinvestují do inovací více, ale lépe. </vt:lpstr>
      <vt:lpstr>Směry pro hledání inovací jsou klíčovou součástí inovační strategie nejlepších inovátorů</vt:lpstr>
      <vt:lpstr>Známý příklad potvrzuje důležitost správného investování: Méně, ale cíleně, je častokrát více!</vt:lpstr>
      <vt:lpstr>Faktor úspěchu #3: Lídři v inovacích …  ... mají lepší procesy a zahrnují množství interních a externích účastníků do procesu tvorby myšlenek - neustále tak podporují vznik nových nápadů</vt:lpstr>
      <vt:lpstr>Vítězové Best Innovator využívají sítě expertů a zdrojů mimo vlastní organizaci při generování a výběru nových nápadů</vt:lpstr>
      <vt:lpstr>Lídři v inovacích využívají otevřených, distribuovaných, inovací k pravidelnému doplňování nápadů</vt:lpstr>
      <vt:lpstr>Faktor úspěchu #4: Lídři v inovacích …  … rozumí síle a možnostem své inovační základny a dokáží tak lépe spolupracovat se svými dodavateli na jejich zapojení  do inovačního procesu</vt:lpstr>
      <vt:lpstr>U vítězů Best Innovator je součástí inovační strategie způsob, jak efektivně a včas zapojit do procesu dodavatele</vt:lpstr>
      <vt:lpstr>Lídři v inovacích systematicky rozvíjejí svou inovační základnu a síť</vt:lpstr>
      <vt:lpstr>Faktor úspěchu #5: Lídři v inovacích …  … využívají měření výkonnosti napříč vícero funkčními oblastmi  za účelem konzistentního řízení životního cyklu inovací </vt:lpstr>
      <vt:lpstr>Vítězové Best Innovator řídí inovace konzistentně a pečlivě, napříč celým inovačním cyklem</vt:lpstr>
      <vt:lpstr>Lídři v inovacích nekompromisně řídí  své portfolio inovací  za pomocí vybraných KPIs umožňující jejich třídění</vt:lpstr>
      <vt:lpstr>Faktor úspěchu #6: Lídři v inovacích …  … využívají vhodných řídicích struktur k prosazení funkčního prostředí inovační kultury a k určení směrů růstu</vt:lpstr>
      <vt:lpstr>Vítězové Best Innovator vytvářejí kulturu pro inovace</vt:lpstr>
      <vt:lpstr>Lídři v inovacích aktivně utvářejí svět, dříve nežli svět přinutí měnit je - i za cenu náročných transformačních programů</vt:lpstr>
      <vt:lpstr>Na závěr ...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2-09-12T09:25:45Z</dcterms:created>
  <dcterms:modified xsi:type="dcterms:W3CDTF">2012-11-28T21:19:43Z</dcterms:modified>
  <cp:version>FINAL</cp:version>
</cp:coreProperties>
</file>